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1"/>
    <p:sldMasterId id="2147484190" r:id="rId2"/>
    <p:sldMasterId id="2147484230" r:id="rId3"/>
    <p:sldMasterId id="2147484375" r:id="rId4"/>
    <p:sldMasterId id="2147484459" r:id="rId5"/>
    <p:sldMasterId id="2147484498" r:id="rId6"/>
    <p:sldMasterId id="2147484514" r:id="rId7"/>
  </p:sldMasterIdLst>
  <p:notesMasterIdLst>
    <p:notesMasterId r:id="rId20"/>
  </p:notesMasterIdLst>
  <p:handoutMasterIdLst>
    <p:handoutMasterId r:id="rId21"/>
  </p:handoutMasterIdLst>
  <p:sldIdLst>
    <p:sldId id="1848" r:id="rId8"/>
    <p:sldId id="2682" r:id="rId9"/>
    <p:sldId id="256" r:id="rId10"/>
    <p:sldId id="259" r:id="rId11"/>
    <p:sldId id="2147471371" r:id="rId12"/>
    <p:sldId id="260" r:id="rId13"/>
    <p:sldId id="2147471369" r:id="rId14"/>
    <p:sldId id="2147471370" r:id="rId15"/>
    <p:sldId id="2147471372" r:id="rId16"/>
    <p:sldId id="2147471348" r:id="rId17"/>
    <p:sldId id="2147471373" r:id="rId18"/>
    <p:sldId id="2147471374" r:id="rId19"/>
  </p:sldIdLst>
  <p:sldSz cx="12192000" cy="6858000"/>
  <p:notesSz cx="6669088" cy="9926638"/>
  <p:defaultTextStyle>
    <a:defPPr>
      <a:defRPr lang="nl-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6" userDrawn="1">
          <p15:clr>
            <a:srgbClr val="A4A3A4"/>
          </p15:clr>
        </p15:guide>
        <p15:guide id="2" pos="1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00436F"/>
    <a:srgbClr val="EB690B"/>
    <a:srgbClr val="800080"/>
    <a:srgbClr val="0079C7"/>
    <a:srgbClr val="D6380D"/>
    <a:srgbClr val="0032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FA202F-C9DB-4B15-9C86-B8A29ABA23FA}" v="128" dt="2024-06-13T06:56:09.0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5287" autoAdjust="0"/>
    <p:restoredTop sz="82484" autoAdjust="0"/>
  </p:normalViewPr>
  <p:slideViewPr>
    <p:cSldViewPr snapToGrid="0" snapToObjects="1">
      <p:cViewPr varScale="1">
        <p:scale>
          <a:sx n="91" d="100"/>
          <a:sy n="91" d="100"/>
        </p:scale>
        <p:origin x="762" y="90"/>
      </p:cViewPr>
      <p:guideLst>
        <p:guide orient="horz" pos="2206"/>
        <p:guide pos="1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3A5341-3A4E-4256-9FFD-B257D7B401B2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02D429-6E5A-4A52-8653-DF9FAA1A6D2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10706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BE7333-4336-49CB-BE91-40B62C6F31B1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E5467-B457-40CB-B411-D0E58123228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3069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notities 1">
            <a:extLst>
              <a:ext uri="{FF2B5EF4-FFF2-40B4-BE49-F238E27FC236}">
                <a16:creationId xmlns:a16="http://schemas.microsoft.com/office/drawing/2014/main" id="{97BC447A-22E6-0E79-345B-88E22CB972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86783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800" dirty="0"/>
              <a:t>Waarom dan toch nog 20% rokers????</a:t>
            </a:r>
          </a:p>
          <a:p>
            <a:endParaRPr lang="nl-NL" sz="1800" dirty="0"/>
          </a:p>
          <a:p>
            <a:r>
              <a:rPr lang="nl-NL" sz="1800" dirty="0"/>
              <a:t>Wereldwijd staat tabaksgebruik met een aandeel van circa 7% op de tweede plaats als oorzaak van ziektelast, na hoge bloeddruk. In West-Europa neemt tabaksgebruik, met ongeveer 11%, zelfs </a:t>
            </a:r>
            <a:r>
              <a:rPr lang="nl-NL" sz="1800" b="1" u="sng" dirty="0"/>
              <a:t>de eerste plaats </a:t>
            </a:r>
            <a:r>
              <a:rPr lang="nl-NL" sz="1800" dirty="0"/>
              <a:t>in. In Nederland is het aandeel van tabaksgebruik in de totale ziektelast – vanwege de hogere rookprevalentie vergeleken met andere West-Europese landen – zelfs nog iets groter, namelijk circa </a:t>
            </a:r>
            <a:r>
              <a:rPr lang="nl-NL" sz="1800" b="1" dirty="0"/>
              <a:t>13%</a:t>
            </a:r>
            <a:r>
              <a:rPr lang="nl-NL" sz="1800" dirty="0"/>
              <a:t>.7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0193B-564F-4854-8A52-728F3FB19C85}" type="slidenum">
              <a:rPr lang="en-US" noProof="0" smtClean="0"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2475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F3490-BADF-1094-A9A6-604015E60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53FB8F0-67D1-AD76-B653-D7BC22E6EC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D570AB4-D1B9-7286-BFA9-4798FF45BC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7218950-31BE-9863-3834-18EB6FE0B3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3BF405-39E6-E443-AAE0-7ED7088B019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9900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F3490-BADF-1094-A9A6-604015E60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53FB8F0-67D1-AD76-B653-D7BC22E6EC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D570AB4-D1B9-7286-BFA9-4798FF45BC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7218950-31BE-9863-3834-18EB6FE0B3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3BF405-39E6-E443-AAE0-7ED7088B019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359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4F3490-BADF-1094-A9A6-604015E605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353FB8F0-67D1-AD76-B653-D7BC22E6EC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BD570AB4-D1B9-7286-BFA9-4798FF45BC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7218950-31BE-9863-3834-18EB6FE0B3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3BF405-39E6-E443-AAE0-7ED7088B019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532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.xml"/><Relationship Id="rId7" Type="http://schemas.openxmlformats.org/officeDocument/2006/relationships/image" Target="../media/image2.emf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4.xml"/><Relationship Id="rId7" Type="http://schemas.openxmlformats.org/officeDocument/2006/relationships/image" Target="../media/image36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pn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8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1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12" Type="http://schemas.openxmlformats.org/officeDocument/2006/relationships/image" Target="../media/image39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11.bin"/><Relationship Id="rId11" Type="http://schemas.openxmlformats.org/officeDocument/2006/relationships/oleObject" Target="../embeddings/oleObject12.bin"/><Relationship Id="rId5" Type="http://schemas.openxmlformats.org/officeDocument/2006/relationships/slideMaster" Target="../slideMasters/slideMaster7.xml"/><Relationship Id="rId10" Type="http://schemas.openxmlformats.org/officeDocument/2006/relationships/image" Target="../media/image7.png"/><Relationship Id="rId4" Type="http://schemas.openxmlformats.org/officeDocument/2006/relationships/tags" Target="../tags/tag42.xml"/><Relationship Id="rId9" Type="http://schemas.openxmlformats.org/officeDocument/2006/relationships/image" Target="../media/image8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marque tinted CUT.eps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868" y="-314325"/>
            <a:ext cx="13514917" cy="752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2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39185" y="620713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pic>
        <p:nvPicPr>
          <p:cNvPr id="7" name="Picture 16" descr="BENU 4x3 Uplift Bar RGB.emf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" y="5516588"/>
            <a:ext cx="11857567" cy="109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Afbeelding 13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5650" y="739800"/>
            <a:ext cx="1629833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449604" y="712782"/>
            <a:ext cx="5477933" cy="22891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rgbClr val="58A618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10" name="Text Placeholder 32"/>
          <p:cNvSpPr>
            <a:spLocks noGrp="1"/>
          </p:cNvSpPr>
          <p:nvPr>
            <p:ph type="body" sz="quarter" idx="18"/>
          </p:nvPr>
        </p:nvSpPr>
        <p:spPr>
          <a:xfrm>
            <a:off x="449619" y="2911943"/>
            <a:ext cx="5772151" cy="296930"/>
          </a:xfrm>
          <a:prstGeom prst="rect">
            <a:avLst/>
          </a:prstGeom>
        </p:spPr>
        <p:txBody>
          <a:bodyPr/>
          <a:lstStyle>
            <a:lvl1pPr>
              <a:lnSpc>
                <a:spcPts val="1680"/>
              </a:lnSpc>
              <a:spcBef>
                <a:spcPts val="0"/>
              </a:spcBef>
              <a:buNone/>
              <a:defRPr sz="1900" b="1" i="0">
                <a:solidFill>
                  <a:srgbClr val="002664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385739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4"/>
          <p:cNvSpPr>
            <a:spLocks noGrp="1"/>
          </p:cNvSpPr>
          <p:nvPr>
            <p:ph type="sldNum" sz="quarter" idx="10"/>
          </p:nvPr>
        </p:nvSpPr>
        <p:spPr>
          <a:xfrm>
            <a:off x="11184467" y="6429375"/>
            <a:ext cx="431800" cy="192088"/>
          </a:xfrm>
          <a:prstGeom prst="rect">
            <a:avLst/>
          </a:prstGeom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C81B694-D42F-49BF-A781-BE089BBF66E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516730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genda / 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16x9 uplift bar cmyk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11074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/>
          <p:nvPr userDrawn="1"/>
        </p:nvSpPr>
        <p:spPr>
          <a:xfrm>
            <a:off x="711217" y="6359550"/>
            <a:ext cx="1784351" cy="498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sz="1143" dirty="0">
              <a:solidFill>
                <a:srgbClr val="000000"/>
              </a:solidFill>
            </a:endParaRPr>
          </a:p>
        </p:txBody>
      </p:sp>
      <p:graphicFrame>
        <p:nvGraphicFramePr>
          <p:cNvPr id="6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6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Line 2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871200" y="6500838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DD53D51F-CE1C-4B84-AB2B-1DF5313D580D}" type="slidenum">
              <a:rPr lang="en-US" altLang="nl-NL" sz="1200" smtClean="0">
                <a:solidFill>
                  <a:srgbClr val="58A618"/>
                </a:solidFill>
                <a:latin typeface="Ubuntu"/>
              </a:rPr>
              <a:pPr algn="ctr" eaLnBrk="1" hangingPunct="1">
                <a:defRPr/>
              </a:pPr>
              <a:t>‹nr.›</a:t>
            </a:fld>
            <a:endParaRPr lang="en-US" altLang="nl-NL" sz="1200">
              <a:solidFill>
                <a:srgbClr val="58A618"/>
              </a:solidFill>
              <a:latin typeface="Ubuntu"/>
            </a:endParaRPr>
          </a:p>
          <a:p>
            <a:pPr algn="ctr" eaLnBrk="1" hangingPunct="1">
              <a:defRPr/>
            </a:pPr>
            <a:endParaRPr lang="en-US" altLang="nl-NL" sz="1200">
              <a:solidFill>
                <a:srgbClr val="58A618"/>
              </a:solidFill>
              <a:latin typeface="Ubuntu"/>
            </a:endParaRPr>
          </a:p>
        </p:txBody>
      </p:sp>
      <p:pic>
        <p:nvPicPr>
          <p:cNvPr id="10" name="Picture 11" descr="16x9 straight bar cmyk.eps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6917" y="6548463"/>
            <a:ext cx="45508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BENU_logo_SCREEN.eps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428" y="6359421"/>
            <a:ext cx="1546357" cy="453989"/>
          </a:xfrm>
          <a:prstGeom prst="rect">
            <a:avLst/>
          </a:prstGeom>
          <a:noFill/>
          <a:ln>
            <a:noFill/>
          </a:ln>
          <a:effectLst>
            <a:glow rad="38100">
              <a:schemeClr val="accent3">
                <a:satMod val="175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3"/>
          </p:nvPr>
        </p:nvSpPr>
        <p:spPr>
          <a:xfrm>
            <a:off x="672000" y="1044000"/>
            <a:ext cx="11184000" cy="5148000"/>
          </a:xfrm>
        </p:spPr>
        <p:txBody>
          <a:bodyPr/>
          <a:lstStyle>
            <a:lvl1pPr marL="479988" indent="-479988">
              <a:lnSpc>
                <a:spcPct val="150000"/>
              </a:lnSpc>
              <a:buFont typeface="+mj-lt"/>
              <a:buAutoNum type="arabicPeriod"/>
              <a:defRPr b="1" i="0" baseline="0"/>
            </a:lvl1pPr>
            <a:lvl2pPr marL="959976" indent="-479988">
              <a:buFont typeface="+mj-lt"/>
              <a:buAutoNum type="alphaLcPeriod"/>
              <a:defRPr/>
            </a:lvl2pPr>
            <a:lvl3pPr marL="959976" indent="0">
              <a:buFont typeface="+mj-lt"/>
              <a:buNone/>
              <a:defRPr/>
            </a:lvl3pPr>
            <a:lvl4pPr marL="1439964" indent="0">
              <a:buFont typeface="+mj-lt"/>
              <a:buNone/>
              <a:defRPr/>
            </a:lvl4pPr>
            <a:lvl5pPr marL="2399940" indent="-479988">
              <a:buFont typeface="+mj-lt"/>
              <a:buAutoNum type="romanLcPeriod"/>
              <a:defRPr/>
            </a:lvl5pPr>
            <a:lvl6pPr marL="1919952" indent="0">
              <a:buFont typeface="+mj-lt"/>
              <a:buNone/>
              <a:defRPr/>
            </a:lvl6pPr>
            <a:lvl7pPr marL="2399940" indent="-479988">
              <a:buFont typeface="+mj-lt"/>
              <a:buAutoNum type="romanLcPeriod"/>
              <a:defRPr/>
            </a:lvl7pPr>
            <a:lvl8pPr marL="2399940" indent="-479988">
              <a:buFont typeface="+mj-lt"/>
              <a:buAutoNum type="romanLcPeriod"/>
              <a:defRPr/>
            </a:lvl8pPr>
            <a:lvl9pPr marL="2399940" indent="-479988">
              <a:buFont typeface="+mj-lt"/>
              <a:buAutoNum type="romanLcPeriod"/>
              <a:defRPr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</p:txBody>
      </p:sp>
      <p:sp>
        <p:nvSpPr>
          <p:cNvPr id="12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0" y="0"/>
            <a:ext cx="0" cy="0"/>
          </a:xfrm>
          <a:ln w="3175">
            <a:prstDash val="sysDot"/>
          </a:ln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3" name="Tijdelijke aanduiding voor voettekst 4"/>
          <p:cNvSpPr>
            <a:spLocks noGrp="1"/>
          </p:cNvSpPr>
          <p:nvPr>
            <p:ph type="ftr" sz="quarter" idx="15"/>
          </p:nvPr>
        </p:nvSpPr>
        <p:spPr>
          <a:xfrm>
            <a:off x="0" y="0"/>
            <a:ext cx="0" cy="0"/>
          </a:xfrm>
          <a:ln w="3175">
            <a:prstDash val="sysDot"/>
          </a:ln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4" name="Tijdelijke aanduiding voor dianummer 5"/>
          <p:cNvSpPr>
            <a:spLocks noGrp="1"/>
          </p:cNvSpPr>
          <p:nvPr>
            <p:ph type="sldNum" sz="quarter" idx="16"/>
          </p:nvPr>
        </p:nvSpPr>
        <p:spPr>
          <a:xfrm>
            <a:off x="0" y="0"/>
            <a:ext cx="0" cy="0"/>
          </a:xfrm>
          <a:ln w="3175">
            <a:prstDash val="sysDot"/>
          </a:ln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87349A3C-B72A-4092-A12C-029E4A4BFFB9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3348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(X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VER">
            <a:extLst>
              <a:ext uri="{FF2B5EF4-FFF2-40B4-BE49-F238E27FC236}">
                <a16:creationId xmlns:a16="http://schemas.microsoft.com/office/drawing/2014/main" id="{FAA87EEB-2F36-49BB-8BA6-AB1FAAE93535}"/>
              </a:ext>
            </a:extLst>
          </p:cNvPr>
          <p:cNvSpPr/>
          <p:nvPr userDrawn="1"/>
        </p:nvSpPr>
        <p:spPr>
          <a:xfrm>
            <a:off x="-600" y="0"/>
            <a:ext cx="12192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ijdelijke aanduiding voor afbeelding 8">
            <a:extLst>
              <a:ext uri="{FF2B5EF4-FFF2-40B4-BE49-F238E27FC236}">
                <a16:creationId xmlns:a16="http://schemas.microsoft.com/office/drawing/2014/main" id="{27489788-7523-4049-B6A4-83AEF615401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600" y="0"/>
            <a:ext cx="1219320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00" rIns="3600000"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dirty="0"/>
              <a:t>Selecteer dit kader, ga naar de tab ‘Slidebuilder’, klik op ‘Afbeeldingen’, selecteer de gewenste afbeelding en klik op ‘Invoegen’.</a:t>
            </a:r>
          </a:p>
        </p:txBody>
      </p:sp>
      <p:sp>
        <p:nvSpPr>
          <p:cNvPr id="50" name="Foliennummernplatzhalter 16">
            <a:extLst>
              <a:ext uri="{FF2B5EF4-FFF2-40B4-BE49-F238E27FC236}">
                <a16:creationId xmlns:a16="http://schemas.microsoft.com/office/drawing/2014/main" id="{95A7CF0B-F83C-4E45-A51B-50567A0A39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16200000">
            <a:off x="11893200" y="7052751"/>
            <a:ext cx="237600" cy="360000"/>
          </a:xfrm>
          <a:prstGeom prst="round2SameRect">
            <a:avLst>
              <a:gd name="adj1" fmla="val 31464"/>
              <a:gd name="adj2" fmla="val 0"/>
            </a:avLst>
          </a:prstGeom>
          <a:solidFill>
            <a:schemeClr val="accent1"/>
          </a:solidFill>
        </p:spPr>
        <p:txBody>
          <a:bodyPr vert="vert" lIns="0" tIns="0" rIns="0" bIns="7200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59410B-54C3-4B9B-95E2-32E79B2DC882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nl-NL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DF2C35F-25C8-43A4-821A-725ED3E006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500" y="-908840"/>
            <a:ext cx="9101108" cy="415288"/>
          </a:xfrm>
        </p:spPr>
        <p:txBody>
          <a:bodyPr/>
          <a:lstStyle/>
          <a:p>
            <a:r>
              <a:rPr lang="nl-NL" dirty="0"/>
              <a:t>Plaats hier je titel, max 1 regel</a:t>
            </a:r>
          </a:p>
        </p:txBody>
      </p:sp>
    </p:spTree>
    <p:extLst>
      <p:ext uri="{BB962C8B-B14F-4D97-AF65-F5344CB8AC3E}">
        <p14:creationId xmlns:p14="http://schemas.microsoft.com/office/powerpoint/2010/main" val="398289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fbeelding"/>
          <p:cNvSpPr>
            <a:spLocks noGrp="1"/>
          </p:cNvSpPr>
          <p:nvPr>
            <p:ph type="pic" idx="13" hasCustomPrompt="1"/>
          </p:nvPr>
        </p:nvSpPr>
        <p:spPr>
          <a:xfrm>
            <a:off x="1" y="0"/>
            <a:ext cx="12191999" cy="492442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999" b="0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r>
              <a:rPr lang="nl-NL" dirty="0"/>
              <a:t>Klik op het icoon om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92" name="Rechthoek 91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iteldia</a:t>
            </a:r>
          </a:p>
        </p:txBody>
      </p:sp>
      <p:grpSp>
        <p:nvGrpSpPr>
          <p:cNvPr id="14" name="Groep 13" hidden="1">
            <a:extLst>
              <a:ext uri="{FF2B5EF4-FFF2-40B4-BE49-F238E27FC236}">
                <a16:creationId xmlns:a16="http://schemas.microsoft.com/office/drawing/2014/main" id="{90194C0A-9F2A-442C-B672-01955B4C0E0A}"/>
              </a:ext>
            </a:extLst>
          </p:cNvPr>
          <p:cNvGrpSpPr/>
          <p:nvPr userDrawn="1"/>
        </p:nvGrpSpPr>
        <p:grpSpPr>
          <a:xfrm>
            <a:off x="12260350" y="-26002"/>
            <a:ext cx="2771986" cy="6335322"/>
            <a:chOff x="12266735" y="-26002"/>
            <a:chExt cx="2773430" cy="6335322"/>
          </a:xfrm>
        </p:grpSpPr>
        <p:sp>
          <p:nvSpPr>
            <p:cNvPr id="42" name="Rechthoek 41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77FC473E-614A-48DA-BE5C-C59FF6E14F68}"/>
                </a:ext>
              </a:extLst>
            </p:cNvPr>
            <p:cNvGrpSpPr/>
            <p:nvPr userDrawn="1"/>
          </p:nvGrpSpPr>
          <p:grpSpPr>
            <a:xfrm>
              <a:off x="12397529" y="358984"/>
              <a:ext cx="2328318" cy="5950336"/>
              <a:chOff x="12397529" y="358984"/>
              <a:chExt cx="2328318" cy="5950336"/>
            </a:xfrm>
          </p:grpSpPr>
          <p:sp>
            <p:nvSpPr>
              <p:cNvPr id="40" name="Tekstvak 33"/>
              <p:cNvSpPr txBox="1"/>
              <p:nvPr userDrawn="1"/>
            </p:nvSpPr>
            <p:spPr>
              <a:xfrm>
                <a:off x="12440545" y="1001584"/>
                <a:ext cx="2285302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erwijder de bestaande foto. Klik op het icoontje om een nieuwe afbeelding in te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oeg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al 40"/>
              <p:cNvSpPr/>
              <p:nvPr userDrawn="1"/>
            </p:nvSpPr>
            <p:spPr>
              <a:xfrm>
                <a:off x="12397529" y="50530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/>
              <p:nvPr userDrawn="1"/>
            </p:nvCxnSpPr>
            <p:spPr>
              <a:xfrm>
                <a:off x="12410414" y="358984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44" name="Rechte verbindingslijn 43"/>
              <p:cNvCxnSpPr/>
              <p:nvPr userDrawn="1"/>
            </p:nvCxnSpPr>
            <p:spPr>
              <a:xfrm>
                <a:off x="12410075" y="2977969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5" name="Afbeelding 44"/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40545" y="2145130"/>
                <a:ext cx="610090" cy="610090"/>
              </a:xfrm>
              <a:prstGeom prst="rect">
                <a:avLst/>
              </a:prstGeom>
            </p:spPr>
          </p:pic>
          <p:sp>
            <p:nvSpPr>
              <p:cNvPr id="46" name="Tekstvak 33"/>
              <p:cNvSpPr txBox="1"/>
              <p:nvPr userDrawn="1"/>
            </p:nvSpPr>
            <p:spPr>
              <a:xfrm>
                <a:off x="12440545" y="3549181"/>
                <a:ext cx="2285302" cy="1477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Selecteer de dia in de miniatuur-weergave en kies voor </a:t>
                </a:r>
                <a:r>
                  <a:rPr kumimoji="0" lang="nl-NL" sz="1599" b="1" i="0" u="none" strike="noStrike" kern="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‘Dia herstellen’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zodat de titel en het logo weer op de foto verschijn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al 46"/>
              <p:cNvSpPr/>
              <p:nvPr userDrawn="1"/>
            </p:nvSpPr>
            <p:spPr>
              <a:xfrm>
                <a:off x="12397529" y="308807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2</a:t>
                </a:r>
              </a:p>
            </p:txBody>
          </p:sp>
          <p:cxnSp>
            <p:nvCxnSpPr>
              <p:cNvPr id="48" name="Rechte verbindingslijn 47"/>
              <p:cNvCxnSpPr/>
              <p:nvPr userDrawn="1"/>
            </p:nvCxnSpPr>
            <p:spPr>
              <a:xfrm>
                <a:off x="12410414" y="6309320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9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" r="35308" b="72620"/>
              <a:stretch/>
            </p:blipFill>
            <p:spPr bwMode="auto">
              <a:xfrm>
                <a:off x="12406313" y="5168767"/>
                <a:ext cx="1495135" cy="9266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0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06313" y="5168767"/>
                <a:ext cx="1842910" cy="99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Afgeronde rechthoek 53"/>
              <p:cNvSpPr/>
              <p:nvPr userDrawn="1"/>
            </p:nvSpPr>
            <p:spPr>
              <a:xfrm>
                <a:off x="13280408" y="5724251"/>
                <a:ext cx="1445100" cy="441053"/>
              </a:xfrm>
              <a:prstGeom prst="roundRect">
                <a:avLst>
                  <a:gd name="adj" fmla="val 427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pic>
            <p:nvPicPr>
              <p:cNvPr id="55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255" t="70556" r="823" b="17746"/>
              <a:stretch/>
            </p:blipFill>
            <p:spPr bwMode="auto">
              <a:xfrm>
                <a:off x="13312829" y="5765033"/>
                <a:ext cx="1380257" cy="388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1202" y="4941169"/>
            <a:ext cx="11051183" cy="827843"/>
          </a:xfrm>
          <a:effectLst/>
        </p:spPr>
        <p:txBody>
          <a:bodyPr anchor="b"/>
          <a:lstStyle>
            <a:lvl1pPr>
              <a:defRPr kumimoji="0" lang="nl-NL" sz="3998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entury Gothic" charset="0"/>
                <a:cs typeface="Century Gothic" charset="0"/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571202" y="5796953"/>
            <a:ext cx="11051183" cy="434977"/>
          </a:xfrm>
          <a:effectLst/>
        </p:spPr>
        <p:txBody>
          <a:bodyPr/>
          <a:lstStyle>
            <a:lvl1pPr marL="0" indent="0" algn="l">
              <a:buNone/>
              <a:defRPr kumimoji="0" lang="nl-NL" sz="1999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Verdana" charset="0"/>
                <a:cs typeface="Verdana" charset="0"/>
              </a:defRPr>
            </a:lvl1pPr>
            <a:lvl2pPr marL="45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grpSp>
        <p:nvGrpSpPr>
          <p:cNvPr id="53" name="Graphic 69">
            <a:extLst>
              <a:ext uri="{FF2B5EF4-FFF2-40B4-BE49-F238E27FC236}">
                <a16:creationId xmlns:a16="http://schemas.microsoft.com/office/drawing/2014/main" id="{9AFDD7F4-3015-4E9B-B319-7ED2FCEE2024}"/>
              </a:ext>
            </a:extLst>
          </p:cNvPr>
          <p:cNvGrpSpPr/>
          <p:nvPr userDrawn="1"/>
        </p:nvGrpSpPr>
        <p:grpSpPr>
          <a:xfrm>
            <a:off x="10476807" y="6110881"/>
            <a:ext cx="1148752" cy="443321"/>
            <a:chOff x="10482264" y="6283323"/>
            <a:chExt cx="1149350" cy="443321"/>
          </a:xfrm>
        </p:grpSpPr>
        <p:grpSp>
          <p:nvGrpSpPr>
            <p:cNvPr id="56" name="Graphic 69">
              <a:extLst>
                <a:ext uri="{FF2B5EF4-FFF2-40B4-BE49-F238E27FC236}">
                  <a16:creationId xmlns:a16="http://schemas.microsoft.com/office/drawing/2014/main" id="{3A93513C-03C7-437C-ABE4-C441E73C9A14}"/>
                </a:ext>
              </a:extLst>
            </p:cNvPr>
            <p:cNvGrpSpPr/>
            <p:nvPr/>
          </p:nvGrpSpPr>
          <p:grpSpPr>
            <a:xfrm>
              <a:off x="10826248" y="6344074"/>
              <a:ext cx="605050" cy="141205"/>
              <a:chOff x="10826248" y="6344074"/>
              <a:chExt cx="605050" cy="141205"/>
            </a:xfrm>
            <a:solidFill>
              <a:srgbClr val="002C55"/>
            </a:solidFill>
          </p:grpSpPr>
          <p:sp>
            <p:nvSpPr>
              <p:cNvPr id="70" name="Vrije vorm: vorm 69">
                <a:extLst>
                  <a:ext uri="{FF2B5EF4-FFF2-40B4-BE49-F238E27FC236}">
                    <a16:creationId xmlns:a16="http://schemas.microsoft.com/office/drawing/2014/main" id="{2C04AF0A-19E8-49C8-80E8-94B9B7D0EF3C}"/>
                  </a:ext>
                </a:extLst>
              </p:cNvPr>
              <p:cNvSpPr/>
              <p:nvPr/>
            </p:nvSpPr>
            <p:spPr>
              <a:xfrm>
                <a:off x="10826248" y="6350642"/>
                <a:ext cx="98515" cy="134638"/>
              </a:xfrm>
              <a:custGeom>
                <a:avLst/>
                <a:gdLst>
                  <a:gd name="connsiteX0" fmla="*/ 51721 w 98515"/>
                  <a:gd name="connsiteY0" fmla="*/ 134638 h 134638"/>
                  <a:gd name="connsiteX1" fmla="*/ 20524 w 98515"/>
                  <a:gd name="connsiteY1" fmla="*/ 127250 h 134638"/>
                  <a:gd name="connsiteX2" fmla="*/ 0 w 98515"/>
                  <a:gd name="connsiteY2" fmla="*/ 108367 h 134638"/>
                  <a:gd name="connsiteX3" fmla="*/ 18882 w 98515"/>
                  <a:gd name="connsiteY3" fmla="*/ 92769 h 134638"/>
                  <a:gd name="connsiteX4" fmla="*/ 33660 w 98515"/>
                  <a:gd name="connsiteY4" fmla="*/ 105904 h 134638"/>
                  <a:gd name="connsiteX5" fmla="*/ 52542 w 98515"/>
                  <a:gd name="connsiteY5" fmla="*/ 110830 h 134638"/>
                  <a:gd name="connsiteX6" fmla="*/ 67319 w 98515"/>
                  <a:gd name="connsiteY6" fmla="*/ 106725 h 134638"/>
                  <a:gd name="connsiteX7" fmla="*/ 72245 w 98515"/>
                  <a:gd name="connsiteY7" fmla="*/ 95232 h 134638"/>
                  <a:gd name="connsiteX8" fmla="*/ 68140 w 98515"/>
                  <a:gd name="connsiteY8" fmla="*/ 86201 h 134638"/>
                  <a:gd name="connsiteX9" fmla="*/ 55826 w 98515"/>
                  <a:gd name="connsiteY9" fmla="*/ 80455 h 134638"/>
                  <a:gd name="connsiteX10" fmla="*/ 36122 w 98515"/>
                  <a:gd name="connsiteY10" fmla="*/ 75529 h 134638"/>
                  <a:gd name="connsiteX11" fmla="*/ 2463 w 98515"/>
                  <a:gd name="connsiteY11" fmla="*/ 38585 h 134638"/>
                  <a:gd name="connsiteX12" fmla="*/ 14777 w 98515"/>
                  <a:gd name="connsiteY12" fmla="*/ 10673 h 134638"/>
                  <a:gd name="connsiteX13" fmla="*/ 48437 w 98515"/>
                  <a:gd name="connsiteY13" fmla="*/ 0 h 134638"/>
                  <a:gd name="connsiteX14" fmla="*/ 77171 w 98515"/>
                  <a:gd name="connsiteY14" fmla="*/ 5747 h 134638"/>
                  <a:gd name="connsiteX15" fmla="*/ 96053 w 98515"/>
                  <a:gd name="connsiteY15" fmla="*/ 22166 h 134638"/>
                  <a:gd name="connsiteX16" fmla="*/ 76350 w 98515"/>
                  <a:gd name="connsiteY16" fmla="*/ 37764 h 134638"/>
                  <a:gd name="connsiteX17" fmla="*/ 48437 w 98515"/>
                  <a:gd name="connsiteY17" fmla="*/ 22987 h 134638"/>
                  <a:gd name="connsiteX18" fmla="*/ 34480 w 98515"/>
                  <a:gd name="connsiteY18" fmla="*/ 27092 h 134638"/>
                  <a:gd name="connsiteX19" fmla="*/ 29555 w 98515"/>
                  <a:gd name="connsiteY19" fmla="*/ 37764 h 134638"/>
                  <a:gd name="connsiteX20" fmla="*/ 32839 w 98515"/>
                  <a:gd name="connsiteY20" fmla="*/ 45974 h 134638"/>
                  <a:gd name="connsiteX21" fmla="*/ 45974 w 98515"/>
                  <a:gd name="connsiteY21" fmla="*/ 51721 h 134638"/>
                  <a:gd name="connsiteX22" fmla="*/ 65677 w 98515"/>
                  <a:gd name="connsiteY22" fmla="*/ 56647 h 134638"/>
                  <a:gd name="connsiteX23" fmla="*/ 98516 w 98515"/>
                  <a:gd name="connsiteY23" fmla="*/ 93590 h 134638"/>
                  <a:gd name="connsiteX24" fmla="*/ 85380 w 98515"/>
                  <a:gd name="connsiteY24" fmla="*/ 123145 h 134638"/>
                  <a:gd name="connsiteX25" fmla="*/ 51721 w 98515"/>
                  <a:gd name="connsiteY25" fmla="*/ 134638 h 13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8515" h="134638">
                    <a:moveTo>
                      <a:pt x="51721" y="134638"/>
                    </a:moveTo>
                    <a:cubicBezTo>
                      <a:pt x="40227" y="134638"/>
                      <a:pt x="29555" y="132175"/>
                      <a:pt x="20524" y="127250"/>
                    </a:cubicBezTo>
                    <a:cubicBezTo>
                      <a:pt x="11493" y="122324"/>
                      <a:pt x="4926" y="116577"/>
                      <a:pt x="0" y="108367"/>
                    </a:cubicBezTo>
                    <a:lnTo>
                      <a:pt x="18882" y="92769"/>
                    </a:lnTo>
                    <a:cubicBezTo>
                      <a:pt x="22987" y="98516"/>
                      <a:pt x="27913" y="102621"/>
                      <a:pt x="33660" y="105904"/>
                    </a:cubicBezTo>
                    <a:cubicBezTo>
                      <a:pt x="39406" y="109188"/>
                      <a:pt x="45974" y="110830"/>
                      <a:pt x="52542" y="110830"/>
                    </a:cubicBezTo>
                    <a:cubicBezTo>
                      <a:pt x="59109" y="110830"/>
                      <a:pt x="64035" y="109188"/>
                      <a:pt x="67319" y="106725"/>
                    </a:cubicBezTo>
                    <a:cubicBezTo>
                      <a:pt x="70603" y="104263"/>
                      <a:pt x="72245" y="100158"/>
                      <a:pt x="72245" y="95232"/>
                    </a:cubicBezTo>
                    <a:cubicBezTo>
                      <a:pt x="72245" y="91127"/>
                      <a:pt x="70603" y="88664"/>
                      <a:pt x="68140" y="86201"/>
                    </a:cubicBezTo>
                    <a:cubicBezTo>
                      <a:pt x="65677" y="83738"/>
                      <a:pt x="61572" y="82096"/>
                      <a:pt x="55826" y="80455"/>
                    </a:cubicBezTo>
                    <a:lnTo>
                      <a:pt x="36122" y="75529"/>
                    </a:lnTo>
                    <a:cubicBezTo>
                      <a:pt x="13956" y="69782"/>
                      <a:pt x="2463" y="57468"/>
                      <a:pt x="2463" y="38585"/>
                    </a:cubicBezTo>
                    <a:cubicBezTo>
                      <a:pt x="2463" y="27092"/>
                      <a:pt x="6568" y="18061"/>
                      <a:pt x="14777" y="10673"/>
                    </a:cubicBezTo>
                    <a:cubicBezTo>
                      <a:pt x="22987" y="3284"/>
                      <a:pt x="34480" y="0"/>
                      <a:pt x="48437" y="0"/>
                    </a:cubicBezTo>
                    <a:cubicBezTo>
                      <a:pt x="59109" y="0"/>
                      <a:pt x="68961" y="1642"/>
                      <a:pt x="77171" y="5747"/>
                    </a:cubicBezTo>
                    <a:cubicBezTo>
                      <a:pt x="85380" y="9852"/>
                      <a:pt x="91948" y="15598"/>
                      <a:pt x="96053" y="22166"/>
                    </a:cubicBezTo>
                    <a:lnTo>
                      <a:pt x="76350" y="37764"/>
                    </a:lnTo>
                    <a:cubicBezTo>
                      <a:pt x="68961" y="27913"/>
                      <a:pt x="59930" y="22987"/>
                      <a:pt x="48437" y="22987"/>
                    </a:cubicBezTo>
                    <a:cubicBezTo>
                      <a:pt x="41869" y="22987"/>
                      <a:pt x="37764" y="24629"/>
                      <a:pt x="34480" y="27092"/>
                    </a:cubicBezTo>
                    <a:cubicBezTo>
                      <a:pt x="31197" y="29555"/>
                      <a:pt x="29555" y="32839"/>
                      <a:pt x="29555" y="37764"/>
                    </a:cubicBezTo>
                    <a:cubicBezTo>
                      <a:pt x="29555" y="41048"/>
                      <a:pt x="30376" y="43511"/>
                      <a:pt x="32839" y="45974"/>
                    </a:cubicBezTo>
                    <a:cubicBezTo>
                      <a:pt x="35301" y="48437"/>
                      <a:pt x="39406" y="50079"/>
                      <a:pt x="45974" y="51721"/>
                    </a:cubicBezTo>
                    <a:lnTo>
                      <a:pt x="65677" y="56647"/>
                    </a:lnTo>
                    <a:cubicBezTo>
                      <a:pt x="87022" y="62393"/>
                      <a:pt x="98516" y="74708"/>
                      <a:pt x="98516" y="93590"/>
                    </a:cubicBezTo>
                    <a:cubicBezTo>
                      <a:pt x="98516" y="105904"/>
                      <a:pt x="94411" y="115756"/>
                      <a:pt x="85380" y="123145"/>
                    </a:cubicBezTo>
                    <a:cubicBezTo>
                      <a:pt x="77992" y="131354"/>
                      <a:pt x="66498" y="134638"/>
                      <a:pt x="51721" y="13463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1" name="Vrije vorm: vorm 70">
                <a:extLst>
                  <a:ext uri="{FF2B5EF4-FFF2-40B4-BE49-F238E27FC236}">
                    <a16:creationId xmlns:a16="http://schemas.microsoft.com/office/drawing/2014/main" id="{191C7B4C-485B-4B51-B4CF-4E6D9F0F2F3C}"/>
                  </a:ext>
                </a:extLst>
              </p:cNvPr>
              <p:cNvSpPr/>
              <p:nvPr/>
            </p:nvSpPr>
            <p:spPr>
              <a:xfrm>
                <a:off x="10936257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5005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2" name="Vrije vorm: vorm 71">
                <a:extLst>
                  <a:ext uri="{FF2B5EF4-FFF2-40B4-BE49-F238E27FC236}">
                    <a16:creationId xmlns:a16="http://schemas.microsoft.com/office/drawing/2014/main" id="{E536B0F6-35FB-4FC1-AB5A-B6EC7D1E689B}"/>
                  </a:ext>
                </a:extLst>
              </p:cNvPr>
              <p:cNvSpPr/>
              <p:nvPr/>
            </p:nvSpPr>
            <p:spPr>
              <a:xfrm>
                <a:off x="11040519" y="6386764"/>
                <a:ext cx="56646" cy="96052"/>
              </a:xfrm>
              <a:custGeom>
                <a:avLst/>
                <a:gdLst>
                  <a:gd name="connsiteX0" fmla="*/ 49258 w 56646"/>
                  <a:gd name="connsiteY0" fmla="*/ 0 h 96052"/>
                  <a:gd name="connsiteX1" fmla="*/ 56647 w 56646"/>
                  <a:gd name="connsiteY1" fmla="*/ 821 h 96052"/>
                  <a:gd name="connsiteX2" fmla="*/ 56647 w 56646"/>
                  <a:gd name="connsiteY2" fmla="*/ 24629 h 96052"/>
                  <a:gd name="connsiteX3" fmla="*/ 45974 w 56646"/>
                  <a:gd name="connsiteY3" fmla="*/ 23808 h 96052"/>
                  <a:gd name="connsiteX4" fmla="*/ 29555 w 56646"/>
                  <a:gd name="connsiteY4" fmla="*/ 30376 h 96052"/>
                  <a:gd name="connsiteX5" fmla="*/ 24629 w 56646"/>
                  <a:gd name="connsiteY5" fmla="*/ 50079 h 96052"/>
                  <a:gd name="connsiteX6" fmla="*/ 24629 w 56646"/>
                  <a:gd name="connsiteY6" fmla="*/ 96053 h 96052"/>
                  <a:gd name="connsiteX7" fmla="*/ 0 w 56646"/>
                  <a:gd name="connsiteY7" fmla="*/ 96053 h 96052"/>
                  <a:gd name="connsiteX8" fmla="*/ 0 w 56646"/>
                  <a:gd name="connsiteY8" fmla="*/ 2463 h 96052"/>
                  <a:gd name="connsiteX9" fmla="*/ 24629 w 56646"/>
                  <a:gd name="connsiteY9" fmla="*/ 2463 h 96052"/>
                  <a:gd name="connsiteX10" fmla="*/ 24629 w 56646"/>
                  <a:gd name="connsiteY10" fmla="*/ 17240 h 96052"/>
                  <a:gd name="connsiteX11" fmla="*/ 34480 w 56646"/>
                  <a:gd name="connsiteY11" fmla="*/ 4926 h 96052"/>
                  <a:gd name="connsiteX12" fmla="*/ 49258 w 56646"/>
                  <a:gd name="connsiteY12" fmla="*/ 0 h 96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646" h="96052">
                    <a:moveTo>
                      <a:pt x="49258" y="0"/>
                    </a:moveTo>
                    <a:cubicBezTo>
                      <a:pt x="51721" y="0"/>
                      <a:pt x="54184" y="0"/>
                      <a:pt x="56647" y="821"/>
                    </a:cubicBezTo>
                    <a:lnTo>
                      <a:pt x="56647" y="24629"/>
                    </a:lnTo>
                    <a:cubicBezTo>
                      <a:pt x="52542" y="23808"/>
                      <a:pt x="49258" y="23808"/>
                      <a:pt x="45974" y="23808"/>
                    </a:cubicBezTo>
                    <a:cubicBezTo>
                      <a:pt x="38585" y="23808"/>
                      <a:pt x="32839" y="26271"/>
                      <a:pt x="29555" y="30376"/>
                    </a:cubicBezTo>
                    <a:cubicBezTo>
                      <a:pt x="26271" y="34481"/>
                      <a:pt x="24629" y="41048"/>
                      <a:pt x="24629" y="50079"/>
                    </a:cubicBezTo>
                    <a:lnTo>
                      <a:pt x="24629" y="96053"/>
                    </a:lnTo>
                    <a:lnTo>
                      <a:pt x="0" y="96053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7240"/>
                    </a:lnTo>
                    <a:cubicBezTo>
                      <a:pt x="27092" y="12314"/>
                      <a:pt x="30376" y="8210"/>
                      <a:pt x="34480" y="4926"/>
                    </a:cubicBezTo>
                    <a:cubicBezTo>
                      <a:pt x="38585" y="1642"/>
                      <a:pt x="43511" y="0"/>
                      <a:pt x="49258" y="0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3" name="Vrije vorm: vorm 72">
                <a:extLst>
                  <a:ext uri="{FF2B5EF4-FFF2-40B4-BE49-F238E27FC236}">
                    <a16:creationId xmlns:a16="http://schemas.microsoft.com/office/drawing/2014/main" id="{3EDF6E17-499C-4F5E-AEB0-7129839A8537}"/>
                  </a:ext>
                </a:extLst>
              </p:cNvPr>
              <p:cNvSpPr/>
              <p:nvPr/>
            </p:nvSpPr>
            <p:spPr>
              <a:xfrm>
                <a:off x="11105375" y="6389227"/>
                <a:ext cx="91947" cy="93589"/>
              </a:xfrm>
              <a:custGeom>
                <a:avLst/>
                <a:gdLst>
                  <a:gd name="connsiteX0" fmla="*/ 91948 w 91947"/>
                  <a:gd name="connsiteY0" fmla="*/ 0 h 93589"/>
                  <a:gd name="connsiteX1" fmla="*/ 59930 w 91947"/>
                  <a:gd name="connsiteY1" fmla="*/ 93590 h 93589"/>
                  <a:gd name="connsiteX2" fmla="*/ 32018 w 91947"/>
                  <a:gd name="connsiteY2" fmla="*/ 93590 h 93589"/>
                  <a:gd name="connsiteX3" fmla="*/ 0 w 91947"/>
                  <a:gd name="connsiteY3" fmla="*/ 0 h 93589"/>
                  <a:gd name="connsiteX4" fmla="*/ 27092 w 91947"/>
                  <a:gd name="connsiteY4" fmla="*/ 0 h 93589"/>
                  <a:gd name="connsiteX5" fmla="*/ 45974 w 91947"/>
                  <a:gd name="connsiteY5" fmla="*/ 62393 h 93589"/>
                  <a:gd name="connsiteX6" fmla="*/ 65677 w 91947"/>
                  <a:gd name="connsiteY6" fmla="*/ 0 h 93589"/>
                  <a:gd name="connsiteX7" fmla="*/ 91948 w 91947"/>
                  <a:gd name="connsiteY7" fmla="*/ 0 h 9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947" h="93589">
                    <a:moveTo>
                      <a:pt x="91948" y="0"/>
                    </a:moveTo>
                    <a:lnTo>
                      <a:pt x="59930" y="93590"/>
                    </a:lnTo>
                    <a:lnTo>
                      <a:pt x="32018" y="93590"/>
                    </a:lnTo>
                    <a:lnTo>
                      <a:pt x="0" y="0"/>
                    </a:lnTo>
                    <a:lnTo>
                      <a:pt x="27092" y="0"/>
                    </a:lnTo>
                    <a:lnTo>
                      <a:pt x="45974" y="62393"/>
                    </a:lnTo>
                    <a:lnTo>
                      <a:pt x="65677" y="0"/>
                    </a:lnTo>
                    <a:lnTo>
                      <a:pt x="91948" y="0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4" name="Vrije vorm: vorm 73">
                <a:extLst>
                  <a:ext uri="{FF2B5EF4-FFF2-40B4-BE49-F238E27FC236}">
                    <a16:creationId xmlns:a16="http://schemas.microsoft.com/office/drawing/2014/main" id="{2A16D35B-1495-488D-B4DF-6EB0D5B60363}"/>
                  </a:ext>
                </a:extLst>
              </p:cNvPr>
              <p:cNvSpPr/>
              <p:nvPr/>
            </p:nvSpPr>
            <p:spPr>
              <a:xfrm>
                <a:off x="11207996" y="6344074"/>
                <a:ext cx="29554" cy="138743"/>
              </a:xfrm>
              <a:custGeom>
                <a:avLst/>
                <a:gdLst>
                  <a:gd name="connsiteX0" fmla="*/ 14777 w 29554"/>
                  <a:gd name="connsiteY0" fmla="*/ 30376 h 138743"/>
                  <a:gd name="connsiteX1" fmla="*/ 4105 w 29554"/>
                  <a:gd name="connsiteY1" fmla="*/ 25450 h 138743"/>
                  <a:gd name="connsiteX2" fmla="*/ 0 w 29554"/>
                  <a:gd name="connsiteY2" fmla="*/ 14777 h 138743"/>
                  <a:gd name="connsiteX3" fmla="*/ 4105 w 29554"/>
                  <a:gd name="connsiteY3" fmla="*/ 4105 h 138743"/>
                  <a:gd name="connsiteX4" fmla="*/ 14777 w 29554"/>
                  <a:gd name="connsiteY4" fmla="*/ 0 h 138743"/>
                  <a:gd name="connsiteX5" fmla="*/ 25450 w 29554"/>
                  <a:gd name="connsiteY5" fmla="*/ 4105 h 138743"/>
                  <a:gd name="connsiteX6" fmla="*/ 29555 w 29554"/>
                  <a:gd name="connsiteY6" fmla="*/ 15598 h 138743"/>
                  <a:gd name="connsiteX7" fmla="*/ 25450 w 29554"/>
                  <a:gd name="connsiteY7" fmla="*/ 26271 h 138743"/>
                  <a:gd name="connsiteX8" fmla="*/ 14777 w 29554"/>
                  <a:gd name="connsiteY8" fmla="*/ 30376 h 138743"/>
                  <a:gd name="connsiteX9" fmla="*/ 1642 w 29554"/>
                  <a:gd name="connsiteY9" fmla="*/ 45153 h 138743"/>
                  <a:gd name="connsiteX10" fmla="*/ 27092 w 29554"/>
                  <a:gd name="connsiteY10" fmla="*/ 45153 h 138743"/>
                  <a:gd name="connsiteX11" fmla="*/ 27092 w 29554"/>
                  <a:gd name="connsiteY11" fmla="*/ 138743 h 138743"/>
                  <a:gd name="connsiteX12" fmla="*/ 1642 w 29554"/>
                  <a:gd name="connsiteY12" fmla="*/ 138743 h 138743"/>
                  <a:gd name="connsiteX13" fmla="*/ 1642 w 29554"/>
                  <a:gd name="connsiteY13" fmla="*/ 45153 h 13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554" h="138743">
                    <a:moveTo>
                      <a:pt x="14777" y="30376"/>
                    </a:moveTo>
                    <a:cubicBezTo>
                      <a:pt x="10672" y="30376"/>
                      <a:pt x="7389" y="28734"/>
                      <a:pt x="4105" y="25450"/>
                    </a:cubicBezTo>
                    <a:cubicBezTo>
                      <a:pt x="821" y="22166"/>
                      <a:pt x="0" y="18882"/>
                      <a:pt x="0" y="14777"/>
                    </a:cubicBezTo>
                    <a:cubicBezTo>
                      <a:pt x="0" y="10673"/>
                      <a:pt x="1642" y="6568"/>
                      <a:pt x="4105" y="4105"/>
                    </a:cubicBezTo>
                    <a:cubicBezTo>
                      <a:pt x="7389" y="821"/>
                      <a:pt x="10672" y="0"/>
                      <a:pt x="14777" y="0"/>
                    </a:cubicBezTo>
                    <a:cubicBezTo>
                      <a:pt x="18882" y="0"/>
                      <a:pt x="22166" y="1642"/>
                      <a:pt x="25450" y="4105"/>
                    </a:cubicBezTo>
                    <a:cubicBezTo>
                      <a:pt x="27913" y="7389"/>
                      <a:pt x="29555" y="10673"/>
                      <a:pt x="29555" y="15598"/>
                    </a:cubicBezTo>
                    <a:cubicBezTo>
                      <a:pt x="29555" y="19703"/>
                      <a:pt x="27913" y="23808"/>
                      <a:pt x="25450" y="26271"/>
                    </a:cubicBezTo>
                    <a:cubicBezTo>
                      <a:pt x="22166" y="29555"/>
                      <a:pt x="18882" y="30376"/>
                      <a:pt x="14777" y="30376"/>
                    </a:cubicBezTo>
                    <a:close/>
                    <a:moveTo>
                      <a:pt x="1642" y="45153"/>
                    </a:moveTo>
                    <a:lnTo>
                      <a:pt x="27092" y="45153"/>
                    </a:lnTo>
                    <a:lnTo>
                      <a:pt x="27092" y="138743"/>
                    </a:lnTo>
                    <a:lnTo>
                      <a:pt x="1642" y="138743"/>
                    </a:lnTo>
                    <a:lnTo>
                      <a:pt x="1642" y="4515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5" name="Vrije vorm: vorm 74">
                <a:extLst>
                  <a:ext uri="{FF2B5EF4-FFF2-40B4-BE49-F238E27FC236}">
                    <a16:creationId xmlns:a16="http://schemas.microsoft.com/office/drawing/2014/main" id="{CFA50AFE-4A0C-49BB-9A5D-33780418F14F}"/>
                  </a:ext>
                </a:extLst>
              </p:cNvPr>
              <p:cNvSpPr/>
              <p:nvPr/>
            </p:nvSpPr>
            <p:spPr>
              <a:xfrm>
                <a:off x="11252328" y="6385122"/>
                <a:ext cx="83738" cy="100157"/>
              </a:xfrm>
              <a:custGeom>
                <a:avLst/>
                <a:gdLst>
                  <a:gd name="connsiteX0" fmla="*/ 44332 w 83738"/>
                  <a:gd name="connsiteY0" fmla="*/ 100158 h 100157"/>
                  <a:gd name="connsiteX1" fmla="*/ 12314 w 83738"/>
                  <a:gd name="connsiteY1" fmla="*/ 86201 h 100157"/>
                  <a:gd name="connsiteX2" fmla="*/ 0 w 83738"/>
                  <a:gd name="connsiteY2" fmla="*/ 50079 h 100157"/>
                  <a:gd name="connsiteX3" fmla="*/ 12314 w 83738"/>
                  <a:gd name="connsiteY3" fmla="*/ 13956 h 100157"/>
                  <a:gd name="connsiteX4" fmla="*/ 44332 w 83738"/>
                  <a:gd name="connsiteY4" fmla="*/ 0 h 100157"/>
                  <a:gd name="connsiteX5" fmla="*/ 68140 w 83738"/>
                  <a:gd name="connsiteY5" fmla="*/ 6568 h 100157"/>
                  <a:gd name="connsiteX6" fmla="*/ 83738 w 83738"/>
                  <a:gd name="connsiteY6" fmla="*/ 25450 h 100157"/>
                  <a:gd name="connsiteX7" fmla="*/ 63214 w 83738"/>
                  <a:gd name="connsiteY7" fmla="*/ 36943 h 100157"/>
                  <a:gd name="connsiteX8" fmla="*/ 45153 w 83738"/>
                  <a:gd name="connsiteY8" fmla="*/ 22166 h 100157"/>
                  <a:gd name="connsiteX9" fmla="*/ 30376 w 83738"/>
                  <a:gd name="connsiteY9" fmla="*/ 29555 h 100157"/>
                  <a:gd name="connsiteX10" fmla="*/ 24629 w 83738"/>
                  <a:gd name="connsiteY10" fmla="*/ 49258 h 100157"/>
                  <a:gd name="connsiteX11" fmla="*/ 30376 w 83738"/>
                  <a:gd name="connsiteY11" fmla="*/ 68961 h 100157"/>
                  <a:gd name="connsiteX12" fmla="*/ 45153 w 83738"/>
                  <a:gd name="connsiteY12" fmla="*/ 76350 h 100157"/>
                  <a:gd name="connsiteX13" fmla="*/ 63214 w 83738"/>
                  <a:gd name="connsiteY13" fmla="*/ 62393 h 100157"/>
                  <a:gd name="connsiteX14" fmla="*/ 83738 w 83738"/>
                  <a:gd name="connsiteY14" fmla="*/ 73887 h 100157"/>
                  <a:gd name="connsiteX15" fmla="*/ 68140 w 83738"/>
                  <a:gd name="connsiteY15" fmla="*/ 92769 h 100157"/>
                  <a:gd name="connsiteX16" fmla="*/ 44332 w 83738"/>
                  <a:gd name="connsiteY16" fmla="*/ 100158 h 10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738" h="100157">
                    <a:moveTo>
                      <a:pt x="44332" y="100158"/>
                    </a:moveTo>
                    <a:cubicBezTo>
                      <a:pt x="31197" y="100158"/>
                      <a:pt x="20524" y="95232"/>
                      <a:pt x="12314" y="86201"/>
                    </a:cubicBezTo>
                    <a:cubicBezTo>
                      <a:pt x="4105" y="77171"/>
                      <a:pt x="0" y="64856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105"/>
                      <a:pt x="31197" y="0"/>
                      <a:pt x="44332" y="0"/>
                    </a:cubicBezTo>
                    <a:cubicBezTo>
                      <a:pt x="53363" y="0"/>
                      <a:pt x="61572" y="2463"/>
                      <a:pt x="68140" y="6568"/>
                    </a:cubicBezTo>
                    <a:cubicBezTo>
                      <a:pt x="74708" y="10673"/>
                      <a:pt x="80454" y="17240"/>
                      <a:pt x="83738" y="25450"/>
                    </a:cubicBezTo>
                    <a:lnTo>
                      <a:pt x="63214" y="36943"/>
                    </a:lnTo>
                    <a:cubicBezTo>
                      <a:pt x="59109" y="27092"/>
                      <a:pt x="52542" y="22166"/>
                      <a:pt x="45153" y="22166"/>
                    </a:cubicBezTo>
                    <a:cubicBezTo>
                      <a:pt x="38585" y="22166"/>
                      <a:pt x="33660" y="24629"/>
                      <a:pt x="30376" y="29555"/>
                    </a:cubicBezTo>
                    <a:cubicBezTo>
                      <a:pt x="27092" y="34481"/>
                      <a:pt x="24629" y="41048"/>
                      <a:pt x="24629" y="49258"/>
                    </a:cubicBezTo>
                    <a:cubicBezTo>
                      <a:pt x="24629" y="57468"/>
                      <a:pt x="26271" y="64035"/>
                      <a:pt x="30376" y="68961"/>
                    </a:cubicBezTo>
                    <a:cubicBezTo>
                      <a:pt x="34480" y="73887"/>
                      <a:pt x="39406" y="76350"/>
                      <a:pt x="45153" y="76350"/>
                    </a:cubicBezTo>
                    <a:cubicBezTo>
                      <a:pt x="53363" y="76350"/>
                      <a:pt x="59109" y="71424"/>
                      <a:pt x="63214" y="62393"/>
                    </a:cubicBezTo>
                    <a:lnTo>
                      <a:pt x="83738" y="73887"/>
                    </a:lnTo>
                    <a:cubicBezTo>
                      <a:pt x="80454" y="82096"/>
                      <a:pt x="74708" y="88664"/>
                      <a:pt x="68140" y="92769"/>
                    </a:cubicBezTo>
                    <a:cubicBezTo>
                      <a:pt x="61572" y="98516"/>
                      <a:pt x="53363" y="100158"/>
                      <a:pt x="44332" y="10015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BF9BC3D6-239D-4C49-A29C-47AA1D682914}"/>
                  </a:ext>
                </a:extLst>
              </p:cNvPr>
              <p:cNvSpPr/>
              <p:nvPr/>
            </p:nvSpPr>
            <p:spPr>
              <a:xfrm>
                <a:off x="11343455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4559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grpSp>
          <p:nvGrpSpPr>
            <p:cNvPr id="57" name="Graphic 69">
              <a:extLst>
                <a:ext uri="{FF2B5EF4-FFF2-40B4-BE49-F238E27FC236}">
                  <a16:creationId xmlns:a16="http://schemas.microsoft.com/office/drawing/2014/main" id="{61ECD4AC-AACE-4C0B-9CF8-FDABBC33B6C0}"/>
                </a:ext>
              </a:extLst>
            </p:cNvPr>
            <p:cNvGrpSpPr/>
            <p:nvPr/>
          </p:nvGrpSpPr>
          <p:grpSpPr>
            <a:xfrm>
              <a:off x="10823785" y="6540284"/>
              <a:ext cx="807007" cy="172402"/>
              <a:chOff x="10823785" y="6540284"/>
              <a:chExt cx="807007" cy="172402"/>
            </a:xfrm>
            <a:solidFill>
              <a:srgbClr val="002C55"/>
            </a:solidFill>
          </p:grpSpPr>
          <p:sp>
            <p:nvSpPr>
              <p:cNvPr id="62" name="Vrije vorm: vorm 61">
                <a:extLst>
                  <a:ext uri="{FF2B5EF4-FFF2-40B4-BE49-F238E27FC236}">
                    <a16:creationId xmlns:a16="http://schemas.microsoft.com/office/drawing/2014/main" id="{C5BACB17-3AFB-467C-99AB-6960D7845D87}"/>
                  </a:ext>
                </a:extLst>
              </p:cNvPr>
              <p:cNvSpPr/>
              <p:nvPr/>
            </p:nvSpPr>
            <p:spPr>
              <a:xfrm>
                <a:off x="10823785" y="6546031"/>
                <a:ext cx="121502" cy="129712"/>
              </a:xfrm>
              <a:custGeom>
                <a:avLst/>
                <a:gdLst>
                  <a:gd name="connsiteX0" fmla="*/ 84559 w 121502"/>
                  <a:gd name="connsiteY0" fmla="*/ 100979 h 129712"/>
                  <a:gd name="connsiteX1" fmla="*/ 36943 w 121502"/>
                  <a:gd name="connsiteY1" fmla="*/ 100979 h 129712"/>
                  <a:gd name="connsiteX2" fmla="*/ 27092 w 121502"/>
                  <a:gd name="connsiteY2" fmla="*/ 129712 h 129712"/>
                  <a:gd name="connsiteX3" fmla="*/ 0 w 121502"/>
                  <a:gd name="connsiteY3" fmla="*/ 129712 h 129712"/>
                  <a:gd name="connsiteX4" fmla="*/ 45974 w 121502"/>
                  <a:gd name="connsiteY4" fmla="*/ 0 h 129712"/>
                  <a:gd name="connsiteX5" fmla="*/ 75529 w 121502"/>
                  <a:gd name="connsiteY5" fmla="*/ 0 h 129712"/>
                  <a:gd name="connsiteX6" fmla="*/ 121503 w 121502"/>
                  <a:gd name="connsiteY6" fmla="*/ 129712 h 129712"/>
                  <a:gd name="connsiteX7" fmla="*/ 93590 w 121502"/>
                  <a:gd name="connsiteY7" fmla="*/ 129712 h 129712"/>
                  <a:gd name="connsiteX8" fmla="*/ 84559 w 121502"/>
                  <a:gd name="connsiteY8" fmla="*/ 100979 h 129712"/>
                  <a:gd name="connsiteX9" fmla="*/ 77171 w 121502"/>
                  <a:gd name="connsiteY9" fmla="*/ 78813 h 129712"/>
                  <a:gd name="connsiteX10" fmla="*/ 60751 w 121502"/>
                  <a:gd name="connsiteY10" fmla="*/ 28734 h 129712"/>
                  <a:gd name="connsiteX11" fmla="*/ 44332 w 121502"/>
                  <a:gd name="connsiteY11" fmla="*/ 78813 h 129712"/>
                  <a:gd name="connsiteX12" fmla="*/ 77171 w 121502"/>
                  <a:gd name="connsiteY12" fmla="*/ 78813 h 12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1502" h="129712">
                    <a:moveTo>
                      <a:pt x="84559" y="100979"/>
                    </a:moveTo>
                    <a:lnTo>
                      <a:pt x="36943" y="100979"/>
                    </a:lnTo>
                    <a:lnTo>
                      <a:pt x="27092" y="129712"/>
                    </a:lnTo>
                    <a:lnTo>
                      <a:pt x="0" y="129712"/>
                    </a:lnTo>
                    <a:lnTo>
                      <a:pt x="45974" y="0"/>
                    </a:lnTo>
                    <a:lnTo>
                      <a:pt x="75529" y="0"/>
                    </a:lnTo>
                    <a:lnTo>
                      <a:pt x="121503" y="129712"/>
                    </a:lnTo>
                    <a:lnTo>
                      <a:pt x="93590" y="129712"/>
                    </a:lnTo>
                    <a:lnTo>
                      <a:pt x="84559" y="100979"/>
                    </a:lnTo>
                    <a:close/>
                    <a:moveTo>
                      <a:pt x="77171" y="78813"/>
                    </a:moveTo>
                    <a:lnTo>
                      <a:pt x="60751" y="28734"/>
                    </a:lnTo>
                    <a:lnTo>
                      <a:pt x="44332" y="78813"/>
                    </a:lnTo>
                    <a:lnTo>
                      <a:pt x="77171" y="7881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3" name="Vrije vorm: vorm 62">
                <a:extLst>
                  <a:ext uri="{FF2B5EF4-FFF2-40B4-BE49-F238E27FC236}">
                    <a16:creationId xmlns:a16="http://schemas.microsoft.com/office/drawing/2014/main" id="{A3A7D965-66DE-4CE4-8C63-B4742FF8B6AB}"/>
                  </a:ext>
                </a:extLst>
              </p:cNvPr>
              <p:cNvSpPr/>
              <p:nvPr/>
            </p:nvSpPr>
            <p:spPr>
              <a:xfrm>
                <a:off x="10956781" y="6578870"/>
                <a:ext cx="91948" cy="133817"/>
              </a:xfrm>
              <a:custGeom>
                <a:avLst/>
                <a:gdLst>
                  <a:gd name="connsiteX0" fmla="*/ 53363 w 91948"/>
                  <a:gd name="connsiteY0" fmla="*/ 0 h 133817"/>
                  <a:gd name="connsiteX1" fmla="*/ 81275 w 91948"/>
                  <a:gd name="connsiteY1" fmla="*/ 13956 h 133817"/>
                  <a:gd name="connsiteX2" fmla="*/ 91948 w 91948"/>
                  <a:gd name="connsiteY2" fmla="*/ 49258 h 133817"/>
                  <a:gd name="connsiteX3" fmla="*/ 81275 w 91948"/>
                  <a:gd name="connsiteY3" fmla="*/ 85380 h 133817"/>
                  <a:gd name="connsiteX4" fmla="*/ 53363 w 91948"/>
                  <a:gd name="connsiteY4" fmla="*/ 99337 h 133817"/>
                  <a:gd name="connsiteX5" fmla="*/ 36943 w 91948"/>
                  <a:gd name="connsiteY5" fmla="*/ 95232 h 133817"/>
                  <a:gd name="connsiteX6" fmla="*/ 25450 w 91948"/>
                  <a:gd name="connsiteY6" fmla="*/ 83738 h 133817"/>
                  <a:gd name="connsiteX7" fmla="*/ 25450 w 91948"/>
                  <a:gd name="connsiteY7" fmla="*/ 133817 h 133817"/>
                  <a:gd name="connsiteX8" fmla="*/ 0 w 91948"/>
                  <a:gd name="connsiteY8" fmla="*/ 133817 h 133817"/>
                  <a:gd name="connsiteX9" fmla="*/ 0 w 91948"/>
                  <a:gd name="connsiteY9" fmla="*/ 2463 h 133817"/>
                  <a:gd name="connsiteX10" fmla="*/ 24629 w 91948"/>
                  <a:gd name="connsiteY10" fmla="*/ 2463 h 133817"/>
                  <a:gd name="connsiteX11" fmla="*/ 24629 w 91948"/>
                  <a:gd name="connsiteY11" fmla="*/ 16419 h 133817"/>
                  <a:gd name="connsiteX12" fmla="*/ 36122 w 91948"/>
                  <a:gd name="connsiteY12" fmla="*/ 4105 h 133817"/>
                  <a:gd name="connsiteX13" fmla="*/ 53363 w 91948"/>
                  <a:gd name="connsiteY13" fmla="*/ 0 h 133817"/>
                  <a:gd name="connsiteX14" fmla="*/ 45974 w 91948"/>
                  <a:gd name="connsiteY14" fmla="*/ 77171 h 133817"/>
                  <a:gd name="connsiteX15" fmla="*/ 61572 w 91948"/>
                  <a:gd name="connsiteY15" fmla="*/ 69782 h 133817"/>
                  <a:gd name="connsiteX16" fmla="*/ 67319 w 91948"/>
                  <a:gd name="connsiteY16" fmla="*/ 50079 h 133817"/>
                  <a:gd name="connsiteX17" fmla="*/ 61572 w 91948"/>
                  <a:gd name="connsiteY17" fmla="*/ 30376 h 133817"/>
                  <a:gd name="connsiteX18" fmla="*/ 45974 w 91948"/>
                  <a:gd name="connsiteY18" fmla="*/ 22987 h 133817"/>
                  <a:gd name="connsiteX19" fmla="*/ 30376 w 91948"/>
                  <a:gd name="connsiteY19" fmla="*/ 30376 h 133817"/>
                  <a:gd name="connsiteX20" fmla="*/ 24629 w 91948"/>
                  <a:gd name="connsiteY20" fmla="*/ 50079 h 133817"/>
                  <a:gd name="connsiteX21" fmla="*/ 30376 w 91948"/>
                  <a:gd name="connsiteY21" fmla="*/ 69782 h 133817"/>
                  <a:gd name="connsiteX22" fmla="*/ 45974 w 91948"/>
                  <a:gd name="connsiteY22" fmla="*/ 77171 h 13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948" h="133817">
                    <a:moveTo>
                      <a:pt x="53363" y="0"/>
                    </a:moveTo>
                    <a:cubicBezTo>
                      <a:pt x="64856" y="0"/>
                      <a:pt x="73887" y="4926"/>
                      <a:pt x="81275" y="13956"/>
                    </a:cubicBezTo>
                    <a:cubicBezTo>
                      <a:pt x="88664" y="22987"/>
                      <a:pt x="91948" y="35301"/>
                      <a:pt x="91948" y="49258"/>
                    </a:cubicBezTo>
                    <a:cubicBezTo>
                      <a:pt x="91948" y="64035"/>
                      <a:pt x="88664" y="75529"/>
                      <a:pt x="81275" y="85380"/>
                    </a:cubicBezTo>
                    <a:cubicBezTo>
                      <a:pt x="73887" y="94411"/>
                      <a:pt x="64856" y="99337"/>
                      <a:pt x="53363" y="99337"/>
                    </a:cubicBezTo>
                    <a:cubicBezTo>
                      <a:pt x="47616" y="99337"/>
                      <a:pt x="41869" y="97695"/>
                      <a:pt x="36943" y="95232"/>
                    </a:cubicBezTo>
                    <a:cubicBezTo>
                      <a:pt x="32018" y="92769"/>
                      <a:pt x="27913" y="88664"/>
                      <a:pt x="25450" y="83738"/>
                    </a:cubicBezTo>
                    <a:lnTo>
                      <a:pt x="25450" y="133817"/>
                    </a:lnTo>
                    <a:lnTo>
                      <a:pt x="0" y="133817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6419"/>
                    </a:lnTo>
                    <a:cubicBezTo>
                      <a:pt x="27092" y="11494"/>
                      <a:pt x="30376" y="7389"/>
                      <a:pt x="36122" y="4105"/>
                    </a:cubicBezTo>
                    <a:cubicBezTo>
                      <a:pt x="41869" y="821"/>
                      <a:pt x="46795" y="0"/>
                      <a:pt x="53363" y="0"/>
                    </a:cubicBezTo>
                    <a:close/>
                    <a:moveTo>
                      <a:pt x="45974" y="77171"/>
                    </a:moveTo>
                    <a:cubicBezTo>
                      <a:pt x="52542" y="77171"/>
                      <a:pt x="57468" y="74708"/>
                      <a:pt x="61572" y="69782"/>
                    </a:cubicBezTo>
                    <a:cubicBezTo>
                      <a:pt x="65677" y="64856"/>
                      <a:pt x="67319" y="58288"/>
                      <a:pt x="67319" y="50079"/>
                    </a:cubicBezTo>
                    <a:cubicBezTo>
                      <a:pt x="67319" y="41869"/>
                      <a:pt x="65677" y="35301"/>
                      <a:pt x="61572" y="30376"/>
                    </a:cubicBezTo>
                    <a:cubicBezTo>
                      <a:pt x="57468" y="25450"/>
                      <a:pt x="52542" y="22987"/>
                      <a:pt x="45974" y="22987"/>
                    </a:cubicBezTo>
                    <a:cubicBezTo>
                      <a:pt x="39406" y="22987"/>
                      <a:pt x="34481" y="25450"/>
                      <a:pt x="30376" y="30376"/>
                    </a:cubicBezTo>
                    <a:cubicBezTo>
                      <a:pt x="26271" y="35301"/>
                      <a:pt x="24629" y="41869"/>
                      <a:pt x="24629" y="50079"/>
                    </a:cubicBezTo>
                    <a:cubicBezTo>
                      <a:pt x="24629" y="58288"/>
                      <a:pt x="26271" y="64856"/>
                      <a:pt x="30376" y="69782"/>
                    </a:cubicBezTo>
                    <a:cubicBezTo>
                      <a:pt x="34481" y="74708"/>
                      <a:pt x="39406" y="77171"/>
                      <a:pt x="45974" y="7717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4" name="Vrije vorm: vorm 63">
                <a:extLst>
                  <a:ext uri="{FF2B5EF4-FFF2-40B4-BE49-F238E27FC236}">
                    <a16:creationId xmlns:a16="http://schemas.microsoft.com/office/drawing/2014/main" id="{073B04CC-5595-461C-AAB4-D4CC6AD0E7C4}"/>
                  </a:ext>
                </a:extLst>
              </p:cNvPr>
              <p:cNvSpPr/>
              <p:nvPr/>
            </p:nvSpPr>
            <p:spPr>
              <a:xfrm>
                <a:off x="11060222" y="6579691"/>
                <a:ext cx="93589" cy="98515"/>
              </a:xfrm>
              <a:custGeom>
                <a:avLst/>
                <a:gdLst>
                  <a:gd name="connsiteX0" fmla="*/ 46795 w 93589"/>
                  <a:gd name="connsiteY0" fmla="*/ 98516 h 98515"/>
                  <a:gd name="connsiteX1" fmla="*/ 22166 w 93589"/>
                  <a:gd name="connsiteY1" fmla="*/ 91948 h 98515"/>
                  <a:gd name="connsiteX2" fmla="*/ 5747 w 93589"/>
                  <a:gd name="connsiteY2" fmla="*/ 73887 h 98515"/>
                  <a:gd name="connsiteX3" fmla="*/ 0 w 93589"/>
                  <a:gd name="connsiteY3" fmla="*/ 49258 h 98515"/>
                  <a:gd name="connsiteX4" fmla="*/ 5747 w 93589"/>
                  <a:gd name="connsiteY4" fmla="*/ 24629 h 98515"/>
                  <a:gd name="connsiteX5" fmla="*/ 22166 w 93589"/>
                  <a:gd name="connsiteY5" fmla="*/ 6568 h 98515"/>
                  <a:gd name="connsiteX6" fmla="*/ 46795 w 93589"/>
                  <a:gd name="connsiteY6" fmla="*/ 0 h 98515"/>
                  <a:gd name="connsiteX7" fmla="*/ 71424 w 93589"/>
                  <a:gd name="connsiteY7" fmla="*/ 6568 h 98515"/>
                  <a:gd name="connsiteX8" fmla="*/ 87843 w 93589"/>
                  <a:gd name="connsiteY8" fmla="*/ 24629 h 98515"/>
                  <a:gd name="connsiteX9" fmla="*/ 93590 w 93589"/>
                  <a:gd name="connsiteY9" fmla="*/ 49258 h 98515"/>
                  <a:gd name="connsiteX10" fmla="*/ 87843 w 93589"/>
                  <a:gd name="connsiteY10" fmla="*/ 73887 h 98515"/>
                  <a:gd name="connsiteX11" fmla="*/ 71424 w 93589"/>
                  <a:gd name="connsiteY11" fmla="*/ 91948 h 98515"/>
                  <a:gd name="connsiteX12" fmla="*/ 46795 w 93589"/>
                  <a:gd name="connsiteY12" fmla="*/ 98516 h 98515"/>
                  <a:gd name="connsiteX13" fmla="*/ 32018 w 93589"/>
                  <a:gd name="connsiteY13" fmla="*/ 68961 h 98515"/>
                  <a:gd name="connsiteX14" fmla="*/ 47616 w 93589"/>
                  <a:gd name="connsiteY14" fmla="*/ 76350 h 98515"/>
                  <a:gd name="connsiteX15" fmla="*/ 63214 w 93589"/>
                  <a:gd name="connsiteY15" fmla="*/ 68961 h 98515"/>
                  <a:gd name="connsiteX16" fmla="*/ 68961 w 93589"/>
                  <a:gd name="connsiteY16" fmla="*/ 49258 h 98515"/>
                  <a:gd name="connsiteX17" fmla="*/ 63214 w 93589"/>
                  <a:gd name="connsiteY17" fmla="*/ 29555 h 98515"/>
                  <a:gd name="connsiteX18" fmla="*/ 47616 w 93589"/>
                  <a:gd name="connsiteY18" fmla="*/ 22166 h 98515"/>
                  <a:gd name="connsiteX19" fmla="*/ 32018 w 93589"/>
                  <a:gd name="connsiteY19" fmla="*/ 29555 h 98515"/>
                  <a:gd name="connsiteX20" fmla="*/ 26271 w 93589"/>
                  <a:gd name="connsiteY20" fmla="*/ 49258 h 98515"/>
                  <a:gd name="connsiteX21" fmla="*/ 32018 w 93589"/>
                  <a:gd name="connsiteY21" fmla="*/ 68961 h 98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3589" h="98515">
                    <a:moveTo>
                      <a:pt x="46795" y="98516"/>
                    </a:moveTo>
                    <a:cubicBezTo>
                      <a:pt x="37764" y="98516"/>
                      <a:pt x="29555" y="96053"/>
                      <a:pt x="22166" y="91948"/>
                    </a:cubicBezTo>
                    <a:cubicBezTo>
                      <a:pt x="14777" y="87843"/>
                      <a:pt x="9852" y="81276"/>
                      <a:pt x="5747" y="73887"/>
                    </a:cubicBezTo>
                    <a:cubicBezTo>
                      <a:pt x="1642" y="66498"/>
                      <a:pt x="0" y="58289"/>
                      <a:pt x="0" y="49258"/>
                    </a:cubicBezTo>
                    <a:cubicBezTo>
                      <a:pt x="0" y="40227"/>
                      <a:pt x="1642" y="32018"/>
                      <a:pt x="5747" y="24629"/>
                    </a:cubicBezTo>
                    <a:cubicBezTo>
                      <a:pt x="9852" y="17240"/>
                      <a:pt x="14777" y="11494"/>
                      <a:pt x="22166" y="6568"/>
                    </a:cubicBezTo>
                    <a:cubicBezTo>
                      <a:pt x="29555" y="2463"/>
                      <a:pt x="37764" y="0"/>
                      <a:pt x="46795" y="0"/>
                    </a:cubicBezTo>
                    <a:cubicBezTo>
                      <a:pt x="55826" y="0"/>
                      <a:pt x="64035" y="2463"/>
                      <a:pt x="71424" y="6568"/>
                    </a:cubicBezTo>
                    <a:cubicBezTo>
                      <a:pt x="78813" y="10673"/>
                      <a:pt x="83738" y="17240"/>
                      <a:pt x="87843" y="24629"/>
                    </a:cubicBezTo>
                    <a:cubicBezTo>
                      <a:pt x="91948" y="32018"/>
                      <a:pt x="93590" y="40227"/>
                      <a:pt x="93590" y="49258"/>
                    </a:cubicBezTo>
                    <a:cubicBezTo>
                      <a:pt x="93590" y="58289"/>
                      <a:pt x="91948" y="66498"/>
                      <a:pt x="87843" y="73887"/>
                    </a:cubicBezTo>
                    <a:cubicBezTo>
                      <a:pt x="83738" y="81276"/>
                      <a:pt x="78813" y="87022"/>
                      <a:pt x="71424" y="91948"/>
                    </a:cubicBezTo>
                    <a:cubicBezTo>
                      <a:pt x="64035" y="96053"/>
                      <a:pt x="55826" y="98516"/>
                      <a:pt x="46795" y="98516"/>
                    </a:cubicBezTo>
                    <a:close/>
                    <a:moveTo>
                      <a:pt x="32018" y="68961"/>
                    </a:moveTo>
                    <a:cubicBezTo>
                      <a:pt x="36122" y="73887"/>
                      <a:pt x="41048" y="76350"/>
                      <a:pt x="47616" y="76350"/>
                    </a:cubicBezTo>
                    <a:cubicBezTo>
                      <a:pt x="54184" y="76350"/>
                      <a:pt x="59109" y="73887"/>
                      <a:pt x="63214" y="68961"/>
                    </a:cubicBezTo>
                    <a:cubicBezTo>
                      <a:pt x="67319" y="64035"/>
                      <a:pt x="68961" y="57468"/>
                      <a:pt x="68961" y="49258"/>
                    </a:cubicBezTo>
                    <a:cubicBezTo>
                      <a:pt x="68961" y="41048"/>
                      <a:pt x="67319" y="34481"/>
                      <a:pt x="63214" y="29555"/>
                    </a:cubicBezTo>
                    <a:cubicBezTo>
                      <a:pt x="59109" y="24629"/>
                      <a:pt x="54184" y="22166"/>
                      <a:pt x="47616" y="22166"/>
                    </a:cubicBezTo>
                    <a:cubicBezTo>
                      <a:pt x="41048" y="22166"/>
                      <a:pt x="36122" y="24629"/>
                      <a:pt x="32018" y="29555"/>
                    </a:cubicBezTo>
                    <a:cubicBezTo>
                      <a:pt x="27913" y="34481"/>
                      <a:pt x="26271" y="41048"/>
                      <a:pt x="26271" y="49258"/>
                    </a:cubicBezTo>
                    <a:cubicBezTo>
                      <a:pt x="26271" y="56647"/>
                      <a:pt x="27913" y="63214"/>
                      <a:pt x="32018" y="6896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5" name="Vrije vorm: vorm 64">
                <a:extLst>
                  <a:ext uri="{FF2B5EF4-FFF2-40B4-BE49-F238E27FC236}">
                    <a16:creationId xmlns:a16="http://schemas.microsoft.com/office/drawing/2014/main" id="{FC81024B-74FA-4535-BCA4-4A5CA912A07E}"/>
                  </a:ext>
                </a:extLst>
              </p:cNvPr>
              <p:cNvSpPr/>
              <p:nvPr/>
            </p:nvSpPr>
            <p:spPr>
              <a:xfrm>
                <a:off x="11161201" y="6554241"/>
                <a:ext cx="64035" cy="123144"/>
              </a:xfrm>
              <a:custGeom>
                <a:avLst/>
                <a:gdLst>
                  <a:gd name="connsiteX0" fmla="*/ 45974 w 64035"/>
                  <a:gd name="connsiteY0" fmla="*/ 123145 h 123144"/>
                  <a:gd name="connsiteX1" fmla="*/ 22166 w 64035"/>
                  <a:gd name="connsiteY1" fmla="*/ 115756 h 123144"/>
                  <a:gd name="connsiteX2" fmla="*/ 15598 w 64035"/>
                  <a:gd name="connsiteY2" fmla="*/ 93590 h 123144"/>
                  <a:gd name="connsiteX3" fmla="*/ 15598 w 64035"/>
                  <a:gd name="connsiteY3" fmla="*/ 49258 h 123144"/>
                  <a:gd name="connsiteX4" fmla="*/ 0 w 64035"/>
                  <a:gd name="connsiteY4" fmla="*/ 49258 h 123144"/>
                  <a:gd name="connsiteX5" fmla="*/ 0 w 64035"/>
                  <a:gd name="connsiteY5" fmla="*/ 27913 h 123144"/>
                  <a:gd name="connsiteX6" fmla="*/ 15598 w 64035"/>
                  <a:gd name="connsiteY6" fmla="*/ 27913 h 123144"/>
                  <a:gd name="connsiteX7" fmla="*/ 15598 w 64035"/>
                  <a:gd name="connsiteY7" fmla="*/ 0 h 123144"/>
                  <a:gd name="connsiteX8" fmla="*/ 41048 w 64035"/>
                  <a:gd name="connsiteY8" fmla="*/ 0 h 123144"/>
                  <a:gd name="connsiteX9" fmla="*/ 41048 w 64035"/>
                  <a:gd name="connsiteY9" fmla="*/ 27913 h 123144"/>
                  <a:gd name="connsiteX10" fmla="*/ 64035 w 64035"/>
                  <a:gd name="connsiteY10" fmla="*/ 27913 h 123144"/>
                  <a:gd name="connsiteX11" fmla="*/ 64035 w 64035"/>
                  <a:gd name="connsiteY11" fmla="*/ 49258 h 123144"/>
                  <a:gd name="connsiteX12" fmla="*/ 41048 w 64035"/>
                  <a:gd name="connsiteY12" fmla="*/ 49258 h 123144"/>
                  <a:gd name="connsiteX13" fmla="*/ 41048 w 64035"/>
                  <a:gd name="connsiteY13" fmla="*/ 89485 h 123144"/>
                  <a:gd name="connsiteX14" fmla="*/ 43511 w 64035"/>
                  <a:gd name="connsiteY14" fmla="*/ 98516 h 123144"/>
                  <a:gd name="connsiteX15" fmla="*/ 52542 w 64035"/>
                  <a:gd name="connsiteY15" fmla="*/ 100979 h 123144"/>
                  <a:gd name="connsiteX16" fmla="*/ 64035 w 64035"/>
                  <a:gd name="connsiteY16" fmla="*/ 99337 h 123144"/>
                  <a:gd name="connsiteX17" fmla="*/ 64035 w 64035"/>
                  <a:gd name="connsiteY17" fmla="*/ 120682 h 123144"/>
                  <a:gd name="connsiteX18" fmla="*/ 45974 w 64035"/>
                  <a:gd name="connsiteY18" fmla="*/ 123145 h 12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4035" h="123144">
                    <a:moveTo>
                      <a:pt x="45974" y="123145"/>
                    </a:moveTo>
                    <a:cubicBezTo>
                      <a:pt x="34481" y="123145"/>
                      <a:pt x="27092" y="120682"/>
                      <a:pt x="22166" y="115756"/>
                    </a:cubicBezTo>
                    <a:cubicBezTo>
                      <a:pt x="17240" y="110830"/>
                      <a:pt x="15598" y="103442"/>
                      <a:pt x="15598" y="93590"/>
                    </a:cubicBezTo>
                    <a:lnTo>
                      <a:pt x="15598" y="49258"/>
                    </a:lnTo>
                    <a:lnTo>
                      <a:pt x="0" y="49258"/>
                    </a:lnTo>
                    <a:lnTo>
                      <a:pt x="0" y="27913"/>
                    </a:lnTo>
                    <a:lnTo>
                      <a:pt x="15598" y="27913"/>
                    </a:lnTo>
                    <a:lnTo>
                      <a:pt x="15598" y="0"/>
                    </a:lnTo>
                    <a:lnTo>
                      <a:pt x="41048" y="0"/>
                    </a:lnTo>
                    <a:lnTo>
                      <a:pt x="41048" y="27913"/>
                    </a:lnTo>
                    <a:lnTo>
                      <a:pt x="64035" y="27913"/>
                    </a:lnTo>
                    <a:lnTo>
                      <a:pt x="64035" y="49258"/>
                    </a:lnTo>
                    <a:lnTo>
                      <a:pt x="41048" y="49258"/>
                    </a:lnTo>
                    <a:lnTo>
                      <a:pt x="41048" y="89485"/>
                    </a:lnTo>
                    <a:cubicBezTo>
                      <a:pt x="41048" y="93590"/>
                      <a:pt x="41869" y="96053"/>
                      <a:pt x="43511" y="98516"/>
                    </a:cubicBezTo>
                    <a:cubicBezTo>
                      <a:pt x="45153" y="100158"/>
                      <a:pt x="48437" y="100979"/>
                      <a:pt x="52542" y="100979"/>
                    </a:cubicBezTo>
                    <a:cubicBezTo>
                      <a:pt x="56647" y="100979"/>
                      <a:pt x="59930" y="100158"/>
                      <a:pt x="64035" y="99337"/>
                    </a:cubicBezTo>
                    <a:lnTo>
                      <a:pt x="64035" y="120682"/>
                    </a:lnTo>
                    <a:cubicBezTo>
                      <a:pt x="58289" y="122324"/>
                      <a:pt x="52542" y="123145"/>
                      <a:pt x="45974" y="1231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6" name="Vrije vorm: vorm 65">
                <a:extLst>
                  <a:ext uri="{FF2B5EF4-FFF2-40B4-BE49-F238E27FC236}">
                    <a16:creationId xmlns:a16="http://schemas.microsoft.com/office/drawing/2014/main" id="{50D272C9-C785-4946-80CF-6D48B6299CD6}"/>
                  </a:ext>
                </a:extLst>
              </p:cNvPr>
              <p:cNvSpPr/>
              <p:nvPr/>
            </p:nvSpPr>
            <p:spPr>
              <a:xfrm>
                <a:off x="11240835" y="6540284"/>
                <a:ext cx="82917" cy="135459"/>
              </a:xfrm>
              <a:custGeom>
                <a:avLst/>
                <a:gdLst>
                  <a:gd name="connsiteX0" fmla="*/ 52542 w 82917"/>
                  <a:gd name="connsiteY0" fmla="*/ 38585 h 135459"/>
                  <a:gd name="connsiteX1" fmla="*/ 74708 w 82917"/>
                  <a:gd name="connsiteY1" fmla="*/ 47616 h 135459"/>
                  <a:gd name="connsiteX2" fmla="*/ 82917 w 82917"/>
                  <a:gd name="connsiteY2" fmla="*/ 73887 h 135459"/>
                  <a:gd name="connsiteX3" fmla="*/ 82917 w 82917"/>
                  <a:gd name="connsiteY3" fmla="*/ 135459 h 135459"/>
                  <a:gd name="connsiteX4" fmla="*/ 57468 w 82917"/>
                  <a:gd name="connsiteY4" fmla="*/ 135459 h 135459"/>
                  <a:gd name="connsiteX5" fmla="*/ 57468 w 82917"/>
                  <a:gd name="connsiteY5" fmla="*/ 80455 h 135459"/>
                  <a:gd name="connsiteX6" fmla="*/ 54184 w 82917"/>
                  <a:gd name="connsiteY6" fmla="*/ 66498 h 135459"/>
                  <a:gd name="connsiteX7" fmla="*/ 43511 w 82917"/>
                  <a:gd name="connsiteY7" fmla="*/ 61572 h 135459"/>
                  <a:gd name="connsiteX8" fmla="*/ 30376 w 82917"/>
                  <a:gd name="connsiteY8" fmla="*/ 67319 h 135459"/>
                  <a:gd name="connsiteX9" fmla="*/ 25450 w 82917"/>
                  <a:gd name="connsiteY9" fmla="*/ 82096 h 135459"/>
                  <a:gd name="connsiteX10" fmla="*/ 25450 w 82917"/>
                  <a:gd name="connsiteY10" fmla="*/ 135459 h 135459"/>
                  <a:gd name="connsiteX11" fmla="*/ 0 w 82917"/>
                  <a:gd name="connsiteY11" fmla="*/ 135459 h 135459"/>
                  <a:gd name="connsiteX12" fmla="*/ 0 w 82917"/>
                  <a:gd name="connsiteY12" fmla="*/ 0 h 135459"/>
                  <a:gd name="connsiteX13" fmla="*/ 25450 w 82917"/>
                  <a:gd name="connsiteY13" fmla="*/ 0 h 135459"/>
                  <a:gd name="connsiteX14" fmla="*/ 25450 w 82917"/>
                  <a:gd name="connsiteY14" fmla="*/ 53363 h 135459"/>
                  <a:gd name="connsiteX15" fmla="*/ 36122 w 82917"/>
                  <a:gd name="connsiteY15" fmla="*/ 41869 h 135459"/>
                  <a:gd name="connsiteX16" fmla="*/ 52542 w 82917"/>
                  <a:gd name="connsiteY16" fmla="*/ 38585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2917" h="135459">
                    <a:moveTo>
                      <a:pt x="52542" y="38585"/>
                    </a:moveTo>
                    <a:cubicBezTo>
                      <a:pt x="61572" y="38585"/>
                      <a:pt x="68961" y="41869"/>
                      <a:pt x="74708" y="47616"/>
                    </a:cubicBezTo>
                    <a:cubicBezTo>
                      <a:pt x="79634" y="53363"/>
                      <a:pt x="82917" y="62393"/>
                      <a:pt x="82917" y="73887"/>
                    </a:cubicBezTo>
                    <a:lnTo>
                      <a:pt x="82917" y="135459"/>
                    </a:lnTo>
                    <a:lnTo>
                      <a:pt x="57468" y="135459"/>
                    </a:lnTo>
                    <a:lnTo>
                      <a:pt x="57468" y="80455"/>
                    </a:lnTo>
                    <a:cubicBezTo>
                      <a:pt x="57468" y="74708"/>
                      <a:pt x="56647" y="69782"/>
                      <a:pt x="54184" y="66498"/>
                    </a:cubicBezTo>
                    <a:cubicBezTo>
                      <a:pt x="51721" y="63214"/>
                      <a:pt x="48437" y="61572"/>
                      <a:pt x="43511" y="61572"/>
                    </a:cubicBezTo>
                    <a:cubicBezTo>
                      <a:pt x="37764" y="61572"/>
                      <a:pt x="33660" y="63214"/>
                      <a:pt x="30376" y="67319"/>
                    </a:cubicBezTo>
                    <a:cubicBezTo>
                      <a:pt x="27092" y="70603"/>
                      <a:pt x="25450" y="75529"/>
                      <a:pt x="25450" y="82096"/>
                    </a:cubicBezTo>
                    <a:lnTo>
                      <a:pt x="25450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53363"/>
                    </a:lnTo>
                    <a:cubicBezTo>
                      <a:pt x="27913" y="48437"/>
                      <a:pt x="31197" y="45153"/>
                      <a:pt x="36122" y="41869"/>
                    </a:cubicBezTo>
                    <a:cubicBezTo>
                      <a:pt x="41048" y="40227"/>
                      <a:pt x="45974" y="38585"/>
                      <a:pt x="52542" y="3858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7" name="Vrije vorm: vorm 66">
                <a:extLst>
                  <a:ext uri="{FF2B5EF4-FFF2-40B4-BE49-F238E27FC236}">
                    <a16:creationId xmlns:a16="http://schemas.microsoft.com/office/drawing/2014/main" id="{52FB6C96-F75C-4FFC-A629-CC68047016A0}"/>
                  </a:ext>
                </a:extLst>
              </p:cNvPr>
              <p:cNvSpPr/>
              <p:nvPr/>
            </p:nvSpPr>
            <p:spPr>
              <a:xfrm>
                <a:off x="11338529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8" name="Vrije vorm: vorm 67">
                <a:extLst>
                  <a:ext uri="{FF2B5EF4-FFF2-40B4-BE49-F238E27FC236}">
                    <a16:creationId xmlns:a16="http://schemas.microsoft.com/office/drawing/2014/main" id="{502E7732-2C19-4906-B450-EF37EB526F91}"/>
                  </a:ext>
                </a:extLst>
              </p:cNvPr>
              <p:cNvSpPr/>
              <p:nvPr/>
            </p:nvSpPr>
            <p:spPr>
              <a:xfrm>
                <a:off x="11437045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9" name="Vrije vorm: vorm 68">
                <a:extLst>
                  <a:ext uri="{FF2B5EF4-FFF2-40B4-BE49-F238E27FC236}">
                    <a16:creationId xmlns:a16="http://schemas.microsoft.com/office/drawing/2014/main" id="{FB5F9F02-7BF6-4309-B066-DCA390E55C59}"/>
                  </a:ext>
                </a:extLst>
              </p:cNvPr>
              <p:cNvSpPr/>
              <p:nvPr/>
            </p:nvSpPr>
            <p:spPr>
              <a:xfrm>
                <a:off x="11541307" y="6540284"/>
                <a:ext cx="89485" cy="135459"/>
              </a:xfrm>
              <a:custGeom>
                <a:avLst/>
                <a:gdLst>
                  <a:gd name="connsiteX0" fmla="*/ 34480 w 89485"/>
                  <a:gd name="connsiteY0" fmla="*/ 99337 h 135459"/>
                  <a:gd name="connsiteX1" fmla="*/ 24629 w 89485"/>
                  <a:gd name="connsiteY1" fmla="*/ 110009 h 135459"/>
                  <a:gd name="connsiteX2" fmla="*/ 24629 w 89485"/>
                  <a:gd name="connsiteY2" fmla="*/ 135459 h 135459"/>
                  <a:gd name="connsiteX3" fmla="*/ 0 w 89485"/>
                  <a:gd name="connsiteY3" fmla="*/ 135459 h 135459"/>
                  <a:gd name="connsiteX4" fmla="*/ 0 w 89485"/>
                  <a:gd name="connsiteY4" fmla="*/ 0 h 135459"/>
                  <a:gd name="connsiteX5" fmla="*/ 25450 w 89485"/>
                  <a:gd name="connsiteY5" fmla="*/ 0 h 135459"/>
                  <a:gd name="connsiteX6" fmla="*/ 25450 w 89485"/>
                  <a:gd name="connsiteY6" fmla="*/ 77992 h 135459"/>
                  <a:gd name="connsiteX7" fmla="*/ 58289 w 89485"/>
                  <a:gd name="connsiteY7" fmla="*/ 41048 h 135459"/>
                  <a:gd name="connsiteX8" fmla="*/ 88664 w 89485"/>
                  <a:gd name="connsiteY8" fmla="*/ 41048 h 135459"/>
                  <a:gd name="connsiteX9" fmla="*/ 51721 w 89485"/>
                  <a:gd name="connsiteY9" fmla="*/ 81276 h 135459"/>
                  <a:gd name="connsiteX10" fmla="*/ 89485 w 89485"/>
                  <a:gd name="connsiteY10" fmla="*/ 134638 h 135459"/>
                  <a:gd name="connsiteX11" fmla="*/ 59930 w 89485"/>
                  <a:gd name="connsiteY11" fmla="*/ 134638 h 135459"/>
                  <a:gd name="connsiteX12" fmla="*/ 34480 w 89485"/>
                  <a:gd name="connsiteY12" fmla="*/ 99337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485" h="135459">
                    <a:moveTo>
                      <a:pt x="34480" y="99337"/>
                    </a:moveTo>
                    <a:lnTo>
                      <a:pt x="24629" y="110009"/>
                    </a:lnTo>
                    <a:lnTo>
                      <a:pt x="24629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77992"/>
                    </a:lnTo>
                    <a:lnTo>
                      <a:pt x="58289" y="41048"/>
                    </a:lnTo>
                    <a:lnTo>
                      <a:pt x="88664" y="41048"/>
                    </a:lnTo>
                    <a:lnTo>
                      <a:pt x="51721" y="81276"/>
                    </a:lnTo>
                    <a:lnTo>
                      <a:pt x="89485" y="134638"/>
                    </a:lnTo>
                    <a:lnTo>
                      <a:pt x="59930" y="134638"/>
                    </a:lnTo>
                    <a:lnTo>
                      <a:pt x="34480" y="99337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sp>
          <p:nvSpPr>
            <p:cNvPr id="58" name="Vrije vorm: vorm 57">
              <a:extLst>
                <a:ext uri="{FF2B5EF4-FFF2-40B4-BE49-F238E27FC236}">
                  <a16:creationId xmlns:a16="http://schemas.microsoft.com/office/drawing/2014/main" id="{844F3C6D-8422-4DA1-9BAB-9E2302BAFD95}"/>
                </a:ext>
              </a:extLst>
            </p:cNvPr>
            <p:cNvSpPr/>
            <p:nvPr/>
          </p:nvSpPr>
          <p:spPr>
            <a:xfrm>
              <a:off x="10601303" y="6439306"/>
              <a:ext cx="119039" cy="238079"/>
            </a:xfrm>
            <a:custGeom>
              <a:avLst/>
              <a:gdLst>
                <a:gd name="connsiteX0" fmla="*/ 0 w 119039"/>
                <a:gd name="connsiteY0" fmla="*/ 0 h 238079"/>
                <a:gd name="connsiteX1" fmla="*/ 119040 w 119039"/>
                <a:gd name="connsiteY1" fmla="*/ 119040 h 238079"/>
                <a:gd name="connsiteX2" fmla="*/ 0 w 119039"/>
                <a:gd name="connsiteY2" fmla="*/ 238080 h 238079"/>
                <a:gd name="connsiteX3" fmla="*/ 0 w 119039"/>
                <a:gd name="connsiteY3" fmla="*/ 0 h 23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039" h="238079">
                  <a:moveTo>
                    <a:pt x="0" y="0"/>
                  </a:moveTo>
                  <a:cubicBezTo>
                    <a:pt x="65677" y="0"/>
                    <a:pt x="119040" y="53363"/>
                    <a:pt x="119040" y="119040"/>
                  </a:cubicBezTo>
                  <a:cubicBezTo>
                    <a:pt x="119040" y="184717"/>
                    <a:pt x="65677" y="238080"/>
                    <a:pt x="0" y="23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59" name="Vrije vorm: vorm 58">
              <a:extLst>
                <a:ext uri="{FF2B5EF4-FFF2-40B4-BE49-F238E27FC236}">
                  <a16:creationId xmlns:a16="http://schemas.microsoft.com/office/drawing/2014/main" id="{E6C4EEC6-3A1A-4047-BC85-B9868BC23036}"/>
                </a:ext>
              </a:extLst>
            </p:cNvPr>
            <p:cNvSpPr/>
            <p:nvPr/>
          </p:nvSpPr>
          <p:spPr>
            <a:xfrm>
              <a:off x="10601303" y="6283323"/>
              <a:ext cx="59109" cy="118218"/>
            </a:xfrm>
            <a:custGeom>
              <a:avLst/>
              <a:gdLst>
                <a:gd name="connsiteX0" fmla="*/ 0 w 59109"/>
                <a:gd name="connsiteY0" fmla="*/ 0 h 118218"/>
                <a:gd name="connsiteX1" fmla="*/ 59109 w 59109"/>
                <a:gd name="connsiteY1" fmla="*/ 59109 h 118218"/>
                <a:gd name="connsiteX2" fmla="*/ 0 w 59109"/>
                <a:gd name="connsiteY2" fmla="*/ 118219 h 118218"/>
                <a:gd name="connsiteX3" fmla="*/ 0 w 59109"/>
                <a:gd name="connsiteY3" fmla="*/ 0 h 11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09" h="118218">
                  <a:moveTo>
                    <a:pt x="0" y="0"/>
                  </a:moveTo>
                  <a:cubicBezTo>
                    <a:pt x="32839" y="0"/>
                    <a:pt x="59109" y="26271"/>
                    <a:pt x="59109" y="59109"/>
                  </a:cubicBezTo>
                  <a:cubicBezTo>
                    <a:pt x="59109" y="91948"/>
                    <a:pt x="32839" y="118219"/>
                    <a:pt x="0" y="118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60" name="Vrije vorm: vorm 59">
              <a:extLst>
                <a:ext uri="{FF2B5EF4-FFF2-40B4-BE49-F238E27FC236}">
                  <a16:creationId xmlns:a16="http://schemas.microsoft.com/office/drawing/2014/main" id="{F953416B-155A-419F-B931-9774742F6AF2}"/>
                </a:ext>
              </a:extLst>
            </p:cNvPr>
            <p:cNvSpPr/>
            <p:nvPr/>
          </p:nvSpPr>
          <p:spPr>
            <a:xfrm>
              <a:off x="10507713" y="6589542"/>
              <a:ext cx="68961" cy="137922"/>
            </a:xfrm>
            <a:custGeom>
              <a:avLst/>
              <a:gdLst>
                <a:gd name="connsiteX0" fmla="*/ 68961 w 68961"/>
                <a:gd name="connsiteY0" fmla="*/ 137922 h 137922"/>
                <a:gd name="connsiteX1" fmla="*/ 0 w 68961"/>
                <a:gd name="connsiteY1" fmla="*/ 68961 h 137922"/>
                <a:gd name="connsiteX2" fmla="*/ 68961 w 68961"/>
                <a:gd name="connsiteY2" fmla="*/ 0 h 137922"/>
                <a:gd name="connsiteX3" fmla="*/ 68961 w 68961"/>
                <a:gd name="connsiteY3" fmla="*/ 137922 h 13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" h="137922">
                  <a:moveTo>
                    <a:pt x="68961" y="137922"/>
                  </a:moveTo>
                  <a:cubicBezTo>
                    <a:pt x="31197" y="137922"/>
                    <a:pt x="0" y="107546"/>
                    <a:pt x="0" y="68961"/>
                  </a:cubicBezTo>
                  <a:cubicBezTo>
                    <a:pt x="0" y="30376"/>
                    <a:pt x="31197" y="0"/>
                    <a:pt x="68961" y="0"/>
                  </a:cubicBezTo>
                  <a:lnTo>
                    <a:pt x="68961" y="137922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61" name="Vrije vorm: vorm 60">
              <a:extLst>
                <a:ext uri="{FF2B5EF4-FFF2-40B4-BE49-F238E27FC236}">
                  <a16:creationId xmlns:a16="http://schemas.microsoft.com/office/drawing/2014/main" id="{4EF6CFD9-637F-4DFD-93D5-95A91DFD83A9}"/>
                </a:ext>
              </a:extLst>
            </p:cNvPr>
            <p:cNvSpPr/>
            <p:nvPr/>
          </p:nvSpPr>
          <p:spPr>
            <a:xfrm>
              <a:off x="10482264" y="6349821"/>
              <a:ext cx="94410" cy="188000"/>
            </a:xfrm>
            <a:custGeom>
              <a:avLst/>
              <a:gdLst>
                <a:gd name="connsiteX0" fmla="*/ 94411 w 94410"/>
                <a:gd name="connsiteY0" fmla="*/ 188001 h 188000"/>
                <a:gd name="connsiteX1" fmla="*/ 0 w 94410"/>
                <a:gd name="connsiteY1" fmla="*/ 94411 h 188000"/>
                <a:gd name="connsiteX2" fmla="*/ 94411 w 94410"/>
                <a:gd name="connsiteY2" fmla="*/ 0 h 188000"/>
                <a:gd name="connsiteX3" fmla="*/ 94411 w 94410"/>
                <a:gd name="connsiteY3" fmla="*/ 188001 h 18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410" h="188000">
                  <a:moveTo>
                    <a:pt x="94411" y="188001"/>
                  </a:moveTo>
                  <a:cubicBezTo>
                    <a:pt x="41869" y="188001"/>
                    <a:pt x="0" y="146132"/>
                    <a:pt x="0" y="94411"/>
                  </a:cubicBezTo>
                  <a:cubicBezTo>
                    <a:pt x="0" y="42690"/>
                    <a:pt x="41869" y="0"/>
                    <a:pt x="94411" y="0"/>
                  </a:cubicBezTo>
                  <a:lnTo>
                    <a:pt x="94411" y="188001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</p:grpSp>
    </p:spTree>
    <p:extLst>
      <p:ext uri="{BB962C8B-B14F-4D97-AF65-F5344CB8AC3E}">
        <p14:creationId xmlns:p14="http://schemas.microsoft.com/office/powerpoint/2010/main" val="58892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- naam - dat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fbeelding"/>
          <p:cNvSpPr>
            <a:spLocks noGrp="1"/>
          </p:cNvSpPr>
          <p:nvPr>
            <p:ph type="pic" idx="13" hasCustomPrompt="1"/>
          </p:nvPr>
        </p:nvSpPr>
        <p:spPr>
          <a:xfrm>
            <a:off x="1" y="1"/>
            <a:ext cx="12191999" cy="421218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999" b="0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r>
              <a:rPr lang="nl-NL" dirty="0"/>
              <a:t>Klik op het icoon om 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92" name="Rechthoek 91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iteldia</a:t>
            </a:r>
          </a:p>
        </p:txBody>
      </p:sp>
      <p:grpSp>
        <p:nvGrpSpPr>
          <p:cNvPr id="14" name="Groep 13" hidden="1">
            <a:extLst>
              <a:ext uri="{FF2B5EF4-FFF2-40B4-BE49-F238E27FC236}">
                <a16:creationId xmlns:a16="http://schemas.microsoft.com/office/drawing/2014/main" id="{90194C0A-9F2A-442C-B672-01955B4C0E0A}"/>
              </a:ext>
            </a:extLst>
          </p:cNvPr>
          <p:cNvGrpSpPr/>
          <p:nvPr userDrawn="1"/>
        </p:nvGrpSpPr>
        <p:grpSpPr>
          <a:xfrm>
            <a:off x="12260350" y="-26002"/>
            <a:ext cx="2771986" cy="6335322"/>
            <a:chOff x="12266735" y="-26002"/>
            <a:chExt cx="2773430" cy="6335322"/>
          </a:xfrm>
        </p:grpSpPr>
        <p:sp>
          <p:nvSpPr>
            <p:cNvPr id="42" name="Rechthoek 41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77FC473E-614A-48DA-BE5C-C59FF6E14F68}"/>
                </a:ext>
              </a:extLst>
            </p:cNvPr>
            <p:cNvGrpSpPr/>
            <p:nvPr userDrawn="1"/>
          </p:nvGrpSpPr>
          <p:grpSpPr>
            <a:xfrm>
              <a:off x="12397529" y="358984"/>
              <a:ext cx="2328318" cy="5950336"/>
              <a:chOff x="12397529" y="358984"/>
              <a:chExt cx="2328318" cy="5950336"/>
            </a:xfrm>
          </p:grpSpPr>
          <p:sp>
            <p:nvSpPr>
              <p:cNvPr id="40" name="Tekstvak 33"/>
              <p:cNvSpPr txBox="1"/>
              <p:nvPr userDrawn="1"/>
            </p:nvSpPr>
            <p:spPr>
              <a:xfrm>
                <a:off x="12440545" y="1001584"/>
                <a:ext cx="2285302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erwijder de bestaande foto. Klik op het icoontje om een nieuwe afbeelding in te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oeg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al 40"/>
              <p:cNvSpPr/>
              <p:nvPr userDrawn="1"/>
            </p:nvSpPr>
            <p:spPr>
              <a:xfrm>
                <a:off x="12397529" y="50530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/>
              <p:nvPr userDrawn="1"/>
            </p:nvCxnSpPr>
            <p:spPr>
              <a:xfrm>
                <a:off x="12410414" y="358984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44" name="Rechte verbindingslijn 43"/>
              <p:cNvCxnSpPr/>
              <p:nvPr userDrawn="1"/>
            </p:nvCxnSpPr>
            <p:spPr>
              <a:xfrm>
                <a:off x="12410075" y="2977969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5" name="Afbeelding 44"/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40545" y="2145130"/>
                <a:ext cx="610090" cy="610090"/>
              </a:xfrm>
              <a:prstGeom prst="rect">
                <a:avLst/>
              </a:prstGeom>
            </p:spPr>
          </p:pic>
          <p:sp>
            <p:nvSpPr>
              <p:cNvPr id="46" name="Tekstvak 33"/>
              <p:cNvSpPr txBox="1"/>
              <p:nvPr userDrawn="1"/>
            </p:nvSpPr>
            <p:spPr>
              <a:xfrm>
                <a:off x="12440545" y="3549181"/>
                <a:ext cx="2285302" cy="1477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Selecteer de dia in de miniatuur-weergave en kies voor </a:t>
                </a:r>
                <a:r>
                  <a:rPr kumimoji="0" lang="nl-NL" sz="1599" b="1" i="0" u="none" strike="noStrike" kern="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‘Dia herstellen’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zodat de titel en het logo weer op de foto verschijn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al 46"/>
              <p:cNvSpPr/>
              <p:nvPr userDrawn="1"/>
            </p:nvSpPr>
            <p:spPr>
              <a:xfrm>
                <a:off x="12397529" y="308807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2</a:t>
                </a:r>
              </a:p>
            </p:txBody>
          </p:sp>
          <p:cxnSp>
            <p:nvCxnSpPr>
              <p:cNvPr id="48" name="Rechte verbindingslijn 47"/>
              <p:cNvCxnSpPr/>
              <p:nvPr userDrawn="1"/>
            </p:nvCxnSpPr>
            <p:spPr>
              <a:xfrm>
                <a:off x="12410414" y="6309320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9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" r="35308" b="72620"/>
              <a:stretch/>
            </p:blipFill>
            <p:spPr bwMode="auto">
              <a:xfrm>
                <a:off x="12406313" y="5168767"/>
                <a:ext cx="1495135" cy="9266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0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06313" y="5168767"/>
                <a:ext cx="1842910" cy="99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Afgeronde rechthoek 53"/>
              <p:cNvSpPr/>
              <p:nvPr userDrawn="1"/>
            </p:nvSpPr>
            <p:spPr>
              <a:xfrm>
                <a:off x="13280408" y="5724251"/>
                <a:ext cx="1445100" cy="441053"/>
              </a:xfrm>
              <a:prstGeom prst="roundRect">
                <a:avLst>
                  <a:gd name="adj" fmla="val 427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pic>
            <p:nvPicPr>
              <p:cNvPr id="55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255" t="70556" r="823" b="17746"/>
              <a:stretch/>
            </p:blipFill>
            <p:spPr bwMode="auto">
              <a:xfrm>
                <a:off x="13312829" y="5765033"/>
                <a:ext cx="1380257" cy="388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1202" y="4249949"/>
            <a:ext cx="11051183" cy="776561"/>
          </a:xfrm>
          <a:effectLst/>
        </p:spPr>
        <p:txBody>
          <a:bodyPr anchor="b"/>
          <a:lstStyle>
            <a:lvl1pPr>
              <a:defRPr kumimoji="0" lang="nl-NL" sz="3998" b="0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Century Gothic" charset="0"/>
                <a:cs typeface="Century Gothic" charset="0"/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571202" y="5030265"/>
            <a:ext cx="11051183" cy="434977"/>
          </a:xfrm>
          <a:effectLst/>
        </p:spPr>
        <p:txBody>
          <a:bodyPr/>
          <a:lstStyle>
            <a:lvl1pPr marL="0" indent="0" algn="l">
              <a:buNone/>
              <a:defRPr kumimoji="0" lang="nl-NL" sz="1999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Verdana" charset="0"/>
                <a:cs typeface="Verdana" charset="0"/>
              </a:defRPr>
            </a:lvl1pPr>
            <a:lvl2pPr marL="45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2F8E9BA-1B84-479C-81F3-D445EAAA89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202" y="5503739"/>
            <a:ext cx="7451020" cy="288000"/>
          </a:xfrm>
        </p:spPr>
        <p:txBody>
          <a:bodyPr/>
          <a:lstStyle>
            <a:lvl1pPr marL="0" indent="0">
              <a:buNone/>
              <a:defRPr kumimoji="0" lang="nl-NL" sz="1599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rvice Apotheek Text" panose="00000500000000000000" pitchFamily="2" charset="0"/>
                <a:ea typeface="Verdana" charset="0"/>
                <a:cs typeface="Service Apotheek Text" panose="00000500000000000000" pitchFamily="2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53" name="Tijdelijke aanduiding voor tekst 4">
            <a:extLst>
              <a:ext uri="{FF2B5EF4-FFF2-40B4-BE49-F238E27FC236}">
                <a16:creationId xmlns:a16="http://schemas.microsoft.com/office/drawing/2014/main" id="{47D339CE-D20E-4108-A5A7-3FA5FC1643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202" y="5833611"/>
            <a:ext cx="7451020" cy="288000"/>
          </a:xfrm>
        </p:spPr>
        <p:txBody>
          <a:bodyPr/>
          <a:lstStyle>
            <a:lvl1pPr marL="0" indent="0">
              <a:buNone/>
              <a:defRPr kumimoji="0" lang="nl-NL" sz="1599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ervice Apotheek Text" panose="00000500000000000000" pitchFamily="2" charset="0"/>
                <a:ea typeface="Verdana" charset="0"/>
                <a:cs typeface="Service Apotheek Text" panose="00000500000000000000" pitchFamily="2" charset="0"/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grpSp>
        <p:nvGrpSpPr>
          <p:cNvPr id="56" name="Graphic 69">
            <a:extLst>
              <a:ext uri="{FF2B5EF4-FFF2-40B4-BE49-F238E27FC236}">
                <a16:creationId xmlns:a16="http://schemas.microsoft.com/office/drawing/2014/main" id="{02B25BE7-463F-479F-8B14-2E4E35192B80}"/>
              </a:ext>
            </a:extLst>
          </p:cNvPr>
          <p:cNvGrpSpPr/>
          <p:nvPr userDrawn="1"/>
        </p:nvGrpSpPr>
        <p:grpSpPr>
          <a:xfrm>
            <a:off x="10476807" y="6110881"/>
            <a:ext cx="1148752" cy="443321"/>
            <a:chOff x="10482264" y="6283323"/>
            <a:chExt cx="1149350" cy="443321"/>
          </a:xfrm>
        </p:grpSpPr>
        <p:grpSp>
          <p:nvGrpSpPr>
            <p:cNvPr id="57" name="Graphic 69">
              <a:extLst>
                <a:ext uri="{FF2B5EF4-FFF2-40B4-BE49-F238E27FC236}">
                  <a16:creationId xmlns:a16="http://schemas.microsoft.com/office/drawing/2014/main" id="{EA298073-4F37-4871-86A4-F54F3E7A3A21}"/>
                </a:ext>
              </a:extLst>
            </p:cNvPr>
            <p:cNvGrpSpPr/>
            <p:nvPr/>
          </p:nvGrpSpPr>
          <p:grpSpPr>
            <a:xfrm>
              <a:off x="10826248" y="6344074"/>
              <a:ext cx="605050" cy="141205"/>
              <a:chOff x="10826248" y="6344074"/>
              <a:chExt cx="605050" cy="141205"/>
            </a:xfrm>
            <a:solidFill>
              <a:srgbClr val="002C55"/>
            </a:solidFill>
          </p:grpSpPr>
          <p:sp>
            <p:nvSpPr>
              <p:cNvPr id="71" name="Vrije vorm: vorm 70">
                <a:extLst>
                  <a:ext uri="{FF2B5EF4-FFF2-40B4-BE49-F238E27FC236}">
                    <a16:creationId xmlns:a16="http://schemas.microsoft.com/office/drawing/2014/main" id="{0C9F35BB-3C0F-4951-A105-8D94D12EDBA4}"/>
                  </a:ext>
                </a:extLst>
              </p:cNvPr>
              <p:cNvSpPr/>
              <p:nvPr/>
            </p:nvSpPr>
            <p:spPr>
              <a:xfrm>
                <a:off x="10826248" y="6350642"/>
                <a:ext cx="98515" cy="134638"/>
              </a:xfrm>
              <a:custGeom>
                <a:avLst/>
                <a:gdLst>
                  <a:gd name="connsiteX0" fmla="*/ 51721 w 98515"/>
                  <a:gd name="connsiteY0" fmla="*/ 134638 h 134638"/>
                  <a:gd name="connsiteX1" fmla="*/ 20524 w 98515"/>
                  <a:gd name="connsiteY1" fmla="*/ 127250 h 134638"/>
                  <a:gd name="connsiteX2" fmla="*/ 0 w 98515"/>
                  <a:gd name="connsiteY2" fmla="*/ 108367 h 134638"/>
                  <a:gd name="connsiteX3" fmla="*/ 18882 w 98515"/>
                  <a:gd name="connsiteY3" fmla="*/ 92769 h 134638"/>
                  <a:gd name="connsiteX4" fmla="*/ 33660 w 98515"/>
                  <a:gd name="connsiteY4" fmla="*/ 105904 h 134638"/>
                  <a:gd name="connsiteX5" fmla="*/ 52542 w 98515"/>
                  <a:gd name="connsiteY5" fmla="*/ 110830 h 134638"/>
                  <a:gd name="connsiteX6" fmla="*/ 67319 w 98515"/>
                  <a:gd name="connsiteY6" fmla="*/ 106725 h 134638"/>
                  <a:gd name="connsiteX7" fmla="*/ 72245 w 98515"/>
                  <a:gd name="connsiteY7" fmla="*/ 95232 h 134638"/>
                  <a:gd name="connsiteX8" fmla="*/ 68140 w 98515"/>
                  <a:gd name="connsiteY8" fmla="*/ 86201 h 134638"/>
                  <a:gd name="connsiteX9" fmla="*/ 55826 w 98515"/>
                  <a:gd name="connsiteY9" fmla="*/ 80455 h 134638"/>
                  <a:gd name="connsiteX10" fmla="*/ 36122 w 98515"/>
                  <a:gd name="connsiteY10" fmla="*/ 75529 h 134638"/>
                  <a:gd name="connsiteX11" fmla="*/ 2463 w 98515"/>
                  <a:gd name="connsiteY11" fmla="*/ 38585 h 134638"/>
                  <a:gd name="connsiteX12" fmla="*/ 14777 w 98515"/>
                  <a:gd name="connsiteY12" fmla="*/ 10673 h 134638"/>
                  <a:gd name="connsiteX13" fmla="*/ 48437 w 98515"/>
                  <a:gd name="connsiteY13" fmla="*/ 0 h 134638"/>
                  <a:gd name="connsiteX14" fmla="*/ 77171 w 98515"/>
                  <a:gd name="connsiteY14" fmla="*/ 5747 h 134638"/>
                  <a:gd name="connsiteX15" fmla="*/ 96053 w 98515"/>
                  <a:gd name="connsiteY15" fmla="*/ 22166 h 134638"/>
                  <a:gd name="connsiteX16" fmla="*/ 76350 w 98515"/>
                  <a:gd name="connsiteY16" fmla="*/ 37764 h 134638"/>
                  <a:gd name="connsiteX17" fmla="*/ 48437 w 98515"/>
                  <a:gd name="connsiteY17" fmla="*/ 22987 h 134638"/>
                  <a:gd name="connsiteX18" fmla="*/ 34480 w 98515"/>
                  <a:gd name="connsiteY18" fmla="*/ 27092 h 134638"/>
                  <a:gd name="connsiteX19" fmla="*/ 29555 w 98515"/>
                  <a:gd name="connsiteY19" fmla="*/ 37764 h 134638"/>
                  <a:gd name="connsiteX20" fmla="*/ 32839 w 98515"/>
                  <a:gd name="connsiteY20" fmla="*/ 45974 h 134638"/>
                  <a:gd name="connsiteX21" fmla="*/ 45974 w 98515"/>
                  <a:gd name="connsiteY21" fmla="*/ 51721 h 134638"/>
                  <a:gd name="connsiteX22" fmla="*/ 65677 w 98515"/>
                  <a:gd name="connsiteY22" fmla="*/ 56647 h 134638"/>
                  <a:gd name="connsiteX23" fmla="*/ 98516 w 98515"/>
                  <a:gd name="connsiteY23" fmla="*/ 93590 h 134638"/>
                  <a:gd name="connsiteX24" fmla="*/ 85380 w 98515"/>
                  <a:gd name="connsiteY24" fmla="*/ 123145 h 134638"/>
                  <a:gd name="connsiteX25" fmla="*/ 51721 w 98515"/>
                  <a:gd name="connsiteY25" fmla="*/ 134638 h 13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8515" h="134638">
                    <a:moveTo>
                      <a:pt x="51721" y="134638"/>
                    </a:moveTo>
                    <a:cubicBezTo>
                      <a:pt x="40227" y="134638"/>
                      <a:pt x="29555" y="132175"/>
                      <a:pt x="20524" y="127250"/>
                    </a:cubicBezTo>
                    <a:cubicBezTo>
                      <a:pt x="11493" y="122324"/>
                      <a:pt x="4926" y="116577"/>
                      <a:pt x="0" y="108367"/>
                    </a:cubicBezTo>
                    <a:lnTo>
                      <a:pt x="18882" y="92769"/>
                    </a:lnTo>
                    <a:cubicBezTo>
                      <a:pt x="22987" y="98516"/>
                      <a:pt x="27913" y="102621"/>
                      <a:pt x="33660" y="105904"/>
                    </a:cubicBezTo>
                    <a:cubicBezTo>
                      <a:pt x="39406" y="109188"/>
                      <a:pt x="45974" y="110830"/>
                      <a:pt x="52542" y="110830"/>
                    </a:cubicBezTo>
                    <a:cubicBezTo>
                      <a:pt x="59109" y="110830"/>
                      <a:pt x="64035" y="109188"/>
                      <a:pt x="67319" y="106725"/>
                    </a:cubicBezTo>
                    <a:cubicBezTo>
                      <a:pt x="70603" y="104263"/>
                      <a:pt x="72245" y="100158"/>
                      <a:pt x="72245" y="95232"/>
                    </a:cubicBezTo>
                    <a:cubicBezTo>
                      <a:pt x="72245" y="91127"/>
                      <a:pt x="70603" y="88664"/>
                      <a:pt x="68140" y="86201"/>
                    </a:cubicBezTo>
                    <a:cubicBezTo>
                      <a:pt x="65677" y="83738"/>
                      <a:pt x="61572" y="82096"/>
                      <a:pt x="55826" y="80455"/>
                    </a:cubicBezTo>
                    <a:lnTo>
                      <a:pt x="36122" y="75529"/>
                    </a:lnTo>
                    <a:cubicBezTo>
                      <a:pt x="13956" y="69782"/>
                      <a:pt x="2463" y="57468"/>
                      <a:pt x="2463" y="38585"/>
                    </a:cubicBezTo>
                    <a:cubicBezTo>
                      <a:pt x="2463" y="27092"/>
                      <a:pt x="6568" y="18061"/>
                      <a:pt x="14777" y="10673"/>
                    </a:cubicBezTo>
                    <a:cubicBezTo>
                      <a:pt x="22987" y="3284"/>
                      <a:pt x="34480" y="0"/>
                      <a:pt x="48437" y="0"/>
                    </a:cubicBezTo>
                    <a:cubicBezTo>
                      <a:pt x="59109" y="0"/>
                      <a:pt x="68961" y="1642"/>
                      <a:pt x="77171" y="5747"/>
                    </a:cubicBezTo>
                    <a:cubicBezTo>
                      <a:pt x="85380" y="9852"/>
                      <a:pt x="91948" y="15598"/>
                      <a:pt x="96053" y="22166"/>
                    </a:cubicBezTo>
                    <a:lnTo>
                      <a:pt x="76350" y="37764"/>
                    </a:lnTo>
                    <a:cubicBezTo>
                      <a:pt x="68961" y="27913"/>
                      <a:pt x="59930" y="22987"/>
                      <a:pt x="48437" y="22987"/>
                    </a:cubicBezTo>
                    <a:cubicBezTo>
                      <a:pt x="41869" y="22987"/>
                      <a:pt x="37764" y="24629"/>
                      <a:pt x="34480" y="27092"/>
                    </a:cubicBezTo>
                    <a:cubicBezTo>
                      <a:pt x="31197" y="29555"/>
                      <a:pt x="29555" y="32839"/>
                      <a:pt x="29555" y="37764"/>
                    </a:cubicBezTo>
                    <a:cubicBezTo>
                      <a:pt x="29555" y="41048"/>
                      <a:pt x="30376" y="43511"/>
                      <a:pt x="32839" y="45974"/>
                    </a:cubicBezTo>
                    <a:cubicBezTo>
                      <a:pt x="35301" y="48437"/>
                      <a:pt x="39406" y="50079"/>
                      <a:pt x="45974" y="51721"/>
                    </a:cubicBezTo>
                    <a:lnTo>
                      <a:pt x="65677" y="56647"/>
                    </a:lnTo>
                    <a:cubicBezTo>
                      <a:pt x="87022" y="62393"/>
                      <a:pt x="98516" y="74708"/>
                      <a:pt x="98516" y="93590"/>
                    </a:cubicBezTo>
                    <a:cubicBezTo>
                      <a:pt x="98516" y="105904"/>
                      <a:pt x="94411" y="115756"/>
                      <a:pt x="85380" y="123145"/>
                    </a:cubicBezTo>
                    <a:cubicBezTo>
                      <a:pt x="77992" y="131354"/>
                      <a:pt x="66498" y="134638"/>
                      <a:pt x="51721" y="13463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2" name="Vrije vorm: vorm 71">
                <a:extLst>
                  <a:ext uri="{FF2B5EF4-FFF2-40B4-BE49-F238E27FC236}">
                    <a16:creationId xmlns:a16="http://schemas.microsoft.com/office/drawing/2014/main" id="{E6F662BB-7C7B-487C-9002-69A86573C166}"/>
                  </a:ext>
                </a:extLst>
              </p:cNvPr>
              <p:cNvSpPr/>
              <p:nvPr/>
            </p:nvSpPr>
            <p:spPr>
              <a:xfrm>
                <a:off x="10936257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5005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3" name="Vrije vorm: vorm 72">
                <a:extLst>
                  <a:ext uri="{FF2B5EF4-FFF2-40B4-BE49-F238E27FC236}">
                    <a16:creationId xmlns:a16="http://schemas.microsoft.com/office/drawing/2014/main" id="{A09E8783-6D99-447A-8725-0B11F61B6117}"/>
                  </a:ext>
                </a:extLst>
              </p:cNvPr>
              <p:cNvSpPr/>
              <p:nvPr/>
            </p:nvSpPr>
            <p:spPr>
              <a:xfrm>
                <a:off x="11040519" y="6386764"/>
                <a:ext cx="56646" cy="96052"/>
              </a:xfrm>
              <a:custGeom>
                <a:avLst/>
                <a:gdLst>
                  <a:gd name="connsiteX0" fmla="*/ 49258 w 56646"/>
                  <a:gd name="connsiteY0" fmla="*/ 0 h 96052"/>
                  <a:gd name="connsiteX1" fmla="*/ 56647 w 56646"/>
                  <a:gd name="connsiteY1" fmla="*/ 821 h 96052"/>
                  <a:gd name="connsiteX2" fmla="*/ 56647 w 56646"/>
                  <a:gd name="connsiteY2" fmla="*/ 24629 h 96052"/>
                  <a:gd name="connsiteX3" fmla="*/ 45974 w 56646"/>
                  <a:gd name="connsiteY3" fmla="*/ 23808 h 96052"/>
                  <a:gd name="connsiteX4" fmla="*/ 29555 w 56646"/>
                  <a:gd name="connsiteY4" fmla="*/ 30376 h 96052"/>
                  <a:gd name="connsiteX5" fmla="*/ 24629 w 56646"/>
                  <a:gd name="connsiteY5" fmla="*/ 50079 h 96052"/>
                  <a:gd name="connsiteX6" fmla="*/ 24629 w 56646"/>
                  <a:gd name="connsiteY6" fmla="*/ 96053 h 96052"/>
                  <a:gd name="connsiteX7" fmla="*/ 0 w 56646"/>
                  <a:gd name="connsiteY7" fmla="*/ 96053 h 96052"/>
                  <a:gd name="connsiteX8" fmla="*/ 0 w 56646"/>
                  <a:gd name="connsiteY8" fmla="*/ 2463 h 96052"/>
                  <a:gd name="connsiteX9" fmla="*/ 24629 w 56646"/>
                  <a:gd name="connsiteY9" fmla="*/ 2463 h 96052"/>
                  <a:gd name="connsiteX10" fmla="*/ 24629 w 56646"/>
                  <a:gd name="connsiteY10" fmla="*/ 17240 h 96052"/>
                  <a:gd name="connsiteX11" fmla="*/ 34480 w 56646"/>
                  <a:gd name="connsiteY11" fmla="*/ 4926 h 96052"/>
                  <a:gd name="connsiteX12" fmla="*/ 49258 w 56646"/>
                  <a:gd name="connsiteY12" fmla="*/ 0 h 96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646" h="96052">
                    <a:moveTo>
                      <a:pt x="49258" y="0"/>
                    </a:moveTo>
                    <a:cubicBezTo>
                      <a:pt x="51721" y="0"/>
                      <a:pt x="54184" y="0"/>
                      <a:pt x="56647" y="821"/>
                    </a:cubicBezTo>
                    <a:lnTo>
                      <a:pt x="56647" y="24629"/>
                    </a:lnTo>
                    <a:cubicBezTo>
                      <a:pt x="52542" y="23808"/>
                      <a:pt x="49258" y="23808"/>
                      <a:pt x="45974" y="23808"/>
                    </a:cubicBezTo>
                    <a:cubicBezTo>
                      <a:pt x="38585" y="23808"/>
                      <a:pt x="32839" y="26271"/>
                      <a:pt x="29555" y="30376"/>
                    </a:cubicBezTo>
                    <a:cubicBezTo>
                      <a:pt x="26271" y="34481"/>
                      <a:pt x="24629" y="41048"/>
                      <a:pt x="24629" y="50079"/>
                    </a:cubicBezTo>
                    <a:lnTo>
                      <a:pt x="24629" y="96053"/>
                    </a:lnTo>
                    <a:lnTo>
                      <a:pt x="0" y="96053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7240"/>
                    </a:lnTo>
                    <a:cubicBezTo>
                      <a:pt x="27092" y="12314"/>
                      <a:pt x="30376" y="8210"/>
                      <a:pt x="34480" y="4926"/>
                    </a:cubicBezTo>
                    <a:cubicBezTo>
                      <a:pt x="38585" y="1642"/>
                      <a:pt x="43511" y="0"/>
                      <a:pt x="49258" y="0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4" name="Vrije vorm: vorm 73">
                <a:extLst>
                  <a:ext uri="{FF2B5EF4-FFF2-40B4-BE49-F238E27FC236}">
                    <a16:creationId xmlns:a16="http://schemas.microsoft.com/office/drawing/2014/main" id="{2ACB7CB8-856B-4C35-B196-F231E378886B}"/>
                  </a:ext>
                </a:extLst>
              </p:cNvPr>
              <p:cNvSpPr/>
              <p:nvPr/>
            </p:nvSpPr>
            <p:spPr>
              <a:xfrm>
                <a:off x="11105375" y="6389227"/>
                <a:ext cx="91947" cy="93589"/>
              </a:xfrm>
              <a:custGeom>
                <a:avLst/>
                <a:gdLst>
                  <a:gd name="connsiteX0" fmla="*/ 91948 w 91947"/>
                  <a:gd name="connsiteY0" fmla="*/ 0 h 93589"/>
                  <a:gd name="connsiteX1" fmla="*/ 59930 w 91947"/>
                  <a:gd name="connsiteY1" fmla="*/ 93590 h 93589"/>
                  <a:gd name="connsiteX2" fmla="*/ 32018 w 91947"/>
                  <a:gd name="connsiteY2" fmla="*/ 93590 h 93589"/>
                  <a:gd name="connsiteX3" fmla="*/ 0 w 91947"/>
                  <a:gd name="connsiteY3" fmla="*/ 0 h 93589"/>
                  <a:gd name="connsiteX4" fmla="*/ 27092 w 91947"/>
                  <a:gd name="connsiteY4" fmla="*/ 0 h 93589"/>
                  <a:gd name="connsiteX5" fmla="*/ 45974 w 91947"/>
                  <a:gd name="connsiteY5" fmla="*/ 62393 h 93589"/>
                  <a:gd name="connsiteX6" fmla="*/ 65677 w 91947"/>
                  <a:gd name="connsiteY6" fmla="*/ 0 h 93589"/>
                  <a:gd name="connsiteX7" fmla="*/ 91948 w 91947"/>
                  <a:gd name="connsiteY7" fmla="*/ 0 h 9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947" h="93589">
                    <a:moveTo>
                      <a:pt x="91948" y="0"/>
                    </a:moveTo>
                    <a:lnTo>
                      <a:pt x="59930" y="93590"/>
                    </a:lnTo>
                    <a:lnTo>
                      <a:pt x="32018" y="93590"/>
                    </a:lnTo>
                    <a:lnTo>
                      <a:pt x="0" y="0"/>
                    </a:lnTo>
                    <a:lnTo>
                      <a:pt x="27092" y="0"/>
                    </a:lnTo>
                    <a:lnTo>
                      <a:pt x="45974" y="62393"/>
                    </a:lnTo>
                    <a:lnTo>
                      <a:pt x="65677" y="0"/>
                    </a:lnTo>
                    <a:lnTo>
                      <a:pt x="91948" y="0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5" name="Vrije vorm: vorm 74">
                <a:extLst>
                  <a:ext uri="{FF2B5EF4-FFF2-40B4-BE49-F238E27FC236}">
                    <a16:creationId xmlns:a16="http://schemas.microsoft.com/office/drawing/2014/main" id="{E428A5AD-E792-4414-BC70-DE3C51DA7899}"/>
                  </a:ext>
                </a:extLst>
              </p:cNvPr>
              <p:cNvSpPr/>
              <p:nvPr/>
            </p:nvSpPr>
            <p:spPr>
              <a:xfrm>
                <a:off x="11207996" y="6344074"/>
                <a:ext cx="29554" cy="138743"/>
              </a:xfrm>
              <a:custGeom>
                <a:avLst/>
                <a:gdLst>
                  <a:gd name="connsiteX0" fmla="*/ 14777 w 29554"/>
                  <a:gd name="connsiteY0" fmla="*/ 30376 h 138743"/>
                  <a:gd name="connsiteX1" fmla="*/ 4105 w 29554"/>
                  <a:gd name="connsiteY1" fmla="*/ 25450 h 138743"/>
                  <a:gd name="connsiteX2" fmla="*/ 0 w 29554"/>
                  <a:gd name="connsiteY2" fmla="*/ 14777 h 138743"/>
                  <a:gd name="connsiteX3" fmla="*/ 4105 w 29554"/>
                  <a:gd name="connsiteY3" fmla="*/ 4105 h 138743"/>
                  <a:gd name="connsiteX4" fmla="*/ 14777 w 29554"/>
                  <a:gd name="connsiteY4" fmla="*/ 0 h 138743"/>
                  <a:gd name="connsiteX5" fmla="*/ 25450 w 29554"/>
                  <a:gd name="connsiteY5" fmla="*/ 4105 h 138743"/>
                  <a:gd name="connsiteX6" fmla="*/ 29555 w 29554"/>
                  <a:gd name="connsiteY6" fmla="*/ 15598 h 138743"/>
                  <a:gd name="connsiteX7" fmla="*/ 25450 w 29554"/>
                  <a:gd name="connsiteY7" fmla="*/ 26271 h 138743"/>
                  <a:gd name="connsiteX8" fmla="*/ 14777 w 29554"/>
                  <a:gd name="connsiteY8" fmla="*/ 30376 h 138743"/>
                  <a:gd name="connsiteX9" fmla="*/ 1642 w 29554"/>
                  <a:gd name="connsiteY9" fmla="*/ 45153 h 138743"/>
                  <a:gd name="connsiteX10" fmla="*/ 27092 w 29554"/>
                  <a:gd name="connsiteY10" fmla="*/ 45153 h 138743"/>
                  <a:gd name="connsiteX11" fmla="*/ 27092 w 29554"/>
                  <a:gd name="connsiteY11" fmla="*/ 138743 h 138743"/>
                  <a:gd name="connsiteX12" fmla="*/ 1642 w 29554"/>
                  <a:gd name="connsiteY12" fmla="*/ 138743 h 138743"/>
                  <a:gd name="connsiteX13" fmla="*/ 1642 w 29554"/>
                  <a:gd name="connsiteY13" fmla="*/ 45153 h 13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554" h="138743">
                    <a:moveTo>
                      <a:pt x="14777" y="30376"/>
                    </a:moveTo>
                    <a:cubicBezTo>
                      <a:pt x="10672" y="30376"/>
                      <a:pt x="7389" y="28734"/>
                      <a:pt x="4105" y="25450"/>
                    </a:cubicBezTo>
                    <a:cubicBezTo>
                      <a:pt x="821" y="22166"/>
                      <a:pt x="0" y="18882"/>
                      <a:pt x="0" y="14777"/>
                    </a:cubicBezTo>
                    <a:cubicBezTo>
                      <a:pt x="0" y="10673"/>
                      <a:pt x="1642" y="6568"/>
                      <a:pt x="4105" y="4105"/>
                    </a:cubicBezTo>
                    <a:cubicBezTo>
                      <a:pt x="7389" y="821"/>
                      <a:pt x="10672" y="0"/>
                      <a:pt x="14777" y="0"/>
                    </a:cubicBezTo>
                    <a:cubicBezTo>
                      <a:pt x="18882" y="0"/>
                      <a:pt x="22166" y="1642"/>
                      <a:pt x="25450" y="4105"/>
                    </a:cubicBezTo>
                    <a:cubicBezTo>
                      <a:pt x="27913" y="7389"/>
                      <a:pt x="29555" y="10673"/>
                      <a:pt x="29555" y="15598"/>
                    </a:cubicBezTo>
                    <a:cubicBezTo>
                      <a:pt x="29555" y="19703"/>
                      <a:pt x="27913" y="23808"/>
                      <a:pt x="25450" y="26271"/>
                    </a:cubicBezTo>
                    <a:cubicBezTo>
                      <a:pt x="22166" y="29555"/>
                      <a:pt x="18882" y="30376"/>
                      <a:pt x="14777" y="30376"/>
                    </a:cubicBezTo>
                    <a:close/>
                    <a:moveTo>
                      <a:pt x="1642" y="45153"/>
                    </a:moveTo>
                    <a:lnTo>
                      <a:pt x="27092" y="45153"/>
                    </a:lnTo>
                    <a:lnTo>
                      <a:pt x="27092" y="138743"/>
                    </a:lnTo>
                    <a:lnTo>
                      <a:pt x="1642" y="138743"/>
                    </a:lnTo>
                    <a:lnTo>
                      <a:pt x="1642" y="4515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07DBEA15-950E-4CC5-AB1B-69EEF68106AB}"/>
                  </a:ext>
                </a:extLst>
              </p:cNvPr>
              <p:cNvSpPr/>
              <p:nvPr/>
            </p:nvSpPr>
            <p:spPr>
              <a:xfrm>
                <a:off x="11252328" y="6385122"/>
                <a:ext cx="83738" cy="100157"/>
              </a:xfrm>
              <a:custGeom>
                <a:avLst/>
                <a:gdLst>
                  <a:gd name="connsiteX0" fmla="*/ 44332 w 83738"/>
                  <a:gd name="connsiteY0" fmla="*/ 100158 h 100157"/>
                  <a:gd name="connsiteX1" fmla="*/ 12314 w 83738"/>
                  <a:gd name="connsiteY1" fmla="*/ 86201 h 100157"/>
                  <a:gd name="connsiteX2" fmla="*/ 0 w 83738"/>
                  <a:gd name="connsiteY2" fmla="*/ 50079 h 100157"/>
                  <a:gd name="connsiteX3" fmla="*/ 12314 w 83738"/>
                  <a:gd name="connsiteY3" fmla="*/ 13956 h 100157"/>
                  <a:gd name="connsiteX4" fmla="*/ 44332 w 83738"/>
                  <a:gd name="connsiteY4" fmla="*/ 0 h 100157"/>
                  <a:gd name="connsiteX5" fmla="*/ 68140 w 83738"/>
                  <a:gd name="connsiteY5" fmla="*/ 6568 h 100157"/>
                  <a:gd name="connsiteX6" fmla="*/ 83738 w 83738"/>
                  <a:gd name="connsiteY6" fmla="*/ 25450 h 100157"/>
                  <a:gd name="connsiteX7" fmla="*/ 63214 w 83738"/>
                  <a:gd name="connsiteY7" fmla="*/ 36943 h 100157"/>
                  <a:gd name="connsiteX8" fmla="*/ 45153 w 83738"/>
                  <a:gd name="connsiteY8" fmla="*/ 22166 h 100157"/>
                  <a:gd name="connsiteX9" fmla="*/ 30376 w 83738"/>
                  <a:gd name="connsiteY9" fmla="*/ 29555 h 100157"/>
                  <a:gd name="connsiteX10" fmla="*/ 24629 w 83738"/>
                  <a:gd name="connsiteY10" fmla="*/ 49258 h 100157"/>
                  <a:gd name="connsiteX11" fmla="*/ 30376 w 83738"/>
                  <a:gd name="connsiteY11" fmla="*/ 68961 h 100157"/>
                  <a:gd name="connsiteX12" fmla="*/ 45153 w 83738"/>
                  <a:gd name="connsiteY12" fmla="*/ 76350 h 100157"/>
                  <a:gd name="connsiteX13" fmla="*/ 63214 w 83738"/>
                  <a:gd name="connsiteY13" fmla="*/ 62393 h 100157"/>
                  <a:gd name="connsiteX14" fmla="*/ 83738 w 83738"/>
                  <a:gd name="connsiteY14" fmla="*/ 73887 h 100157"/>
                  <a:gd name="connsiteX15" fmla="*/ 68140 w 83738"/>
                  <a:gd name="connsiteY15" fmla="*/ 92769 h 100157"/>
                  <a:gd name="connsiteX16" fmla="*/ 44332 w 83738"/>
                  <a:gd name="connsiteY16" fmla="*/ 100158 h 10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738" h="100157">
                    <a:moveTo>
                      <a:pt x="44332" y="100158"/>
                    </a:moveTo>
                    <a:cubicBezTo>
                      <a:pt x="31197" y="100158"/>
                      <a:pt x="20524" y="95232"/>
                      <a:pt x="12314" y="86201"/>
                    </a:cubicBezTo>
                    <a:cubicBezTo>
                      <a:pt x="4105" y="77171"/>
                      <a:pt x="0" y="64856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105"/>
                      <a:pt x="31197" y="0"/>
                      <a:pt x="44332" y="0"/>
                    </a:cubicBezTo>
                    <a:cubicBezTo>
                      <a:pt x="53363" y="0"/>
                      <a:pt x="61572" y="2463"/>
                      <a:pt x="68140" y="6568"/>
                    </a:cubicBezTo>
                    <a:cubicBezTo>
                      <a:pt x="74708" y="10673"/>
                      <a:pt x="80454" y="17240"/>
                      <a:pt x="83738" y="25450"/>
                    </a:cubicBezTo>
                    <a:lnTo>
                      <a:pt x="63214" y="36943"/>
                    </a:lnTo>
                    <a:cubicBezTo>
                      <a:pt x="59109" y="27092"/>
                      <a:pt x="52542" y="22166"/>
                      <a:pt x="45153" y="22166"/>
                    </a:cubicBezTo>
                    <a:cubicBezTo>
                      <a:pt x="38585" y="22166"/>
                      <a:pt x="33660" y="24629"/>
                      <a:pt x="30376" y="29555"/>
                    </a:cubicBezTo>
                    <a:cubicBezTo>
                      <a:pt x="27092" y="34481"/>
                      <a:pt x="24629" y="41048"/>
                      <a:pt x="24629" y="49258"/>
                    </a:cubicBezTo>
                    <a:cubicBezTo>
                      <a:pt x="24629" y="57468"/>
                      <a:pt x="26271" y="64035"/>
                      <a:pt x="30376" y="68961"/>
                    </a:cubicBezTo>
                    <a:cubicBezTo>
                      <a:pt x="34480" y="73887"/>
                      <a:pt x="39406" y="76350"/>
                      <a:pt x="45153" y="76350"/>
                    </a:cubicBezTo>
                    <a:cubicBezTo>
                      <a:pt x="53363" y="76350"/>
                      <a:pt x="59109" y="71424"/>
                      <a:pt x="63214" y="62393"/>
                    </a:cubicBezTo>
                    <a:lnTo>
                      <a:pt x="83738" y="73887"/>
                    </a:lnTo>
                    <a:cubicBezTo>
                      <a:pt x="80454" y="82096"/>
                      <a:pt x="74708" y="88664"/>
                      <a:pt x="68140" y="92769"/>
                    </a:cubicBezTo>
                    <a:cubicBezTo>
                      <a:pt x="61572" y="98516"/>
                      <a:pt x="53363" y="100158"/>
                      <a:pt x="44332" y="10015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7" name="Vrije vorm: vorm 76">
                <a:extLst>
                  <a:ext uri="{FF2B5EF4-FFF2-40B4-BE49-F238E27FC236}">
                    <a16:creationId xmlns:a16="http://schemas.microsoft.com/office/drawing/2014/main" id="{790AF503-888A-4519-B169-D02F28EE8660}"/>
                  </a:ext>
                </a:extLst>
              </p:cNvPr>
              <p:cNvSpPr/>
              <p:nvPr/>
            </p:nvSpPr>
            <p:spPr>
              <a:xfrm>
                <a:off x="11343455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4559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grpSp>
          <p:nvGrpSpPr>
            <p:cNvPr id="58" name="Graphic 69">
              <a:extLst>
                <a:ext uri="{FF2B5EF4-FFF2-40B4-BE49-F238E27FC236}">
                  <a16:creationId xmlns:a16="http://schemas.microsoft.com/office/drawing/2014/main" id="{15AFCAAA-7E20-404B-8A5D-801A8FA5AC83}"/>
                </a:ext>
              </a:extLst>
            </p:cNvPr>
            <p:cNvGrpSpPr/>
            <p:nvPr/>
          </p:nvGrpSpPr>
          <p:grpSpPr>
            <a:xfrm>
              <a:off x="10823785" y="6540284"/>
              <a:ext cx="807007" cy="172402"/>
              <a:chOff x="10823785" y="6540284"/>
              <a:chExt cx="807007" cy="172402"/>
            </a:xfrm>
            <a:solidFill>
              <a:srgbClr val="002C55"/>
            </a:solidFill>
          </p:grpSpPr>
          <p:sp>
            <p:nvSpPr>
              <p:cNvPr id="63" name="Vrije vorm: vorm 62">
                <a:extLst>
                  <a:ext uri="{FF2B5EF4-FFF2-40B4-BE49-F238E27FC236}">
                    <a16:creationId xmlns:a16="http://schemas.microsoft.com/office/drawing/2014/main" id="{941C28ED-8517-4ED1-B9C2-C1D0D1A4873B}"/>
                  </a:ext>
                </a:extLst>
              </p:cNvPr>
              <p:cNvSpPr/>
              <p:nvPr/>
            </p:nvSpPr>
            <p:spPr>
              <a:xfrm>
                <a:off x="10823785" y="6546031"/>
                <a:ext cx="121502" cy="129712"/>
              </a:xfrm>
              <a:custGeom>
                <a:avLst/>
                <a:gdLst>
                  <a:gd name="connsiteX0" fmla="*/ 84559 w 121502"/>
                  <a:gd name="connsiteY0" fmla="*/ 100979 h 129712"/>
                  <a:gd name="connsiteX1" fmla="*/ 36943 w 121502"/>
                  <a:gd name="connsiteY1" fmla="*/ 100979 h 129712"/>
                  <a:gd name="connsiteX2" fmla="*/ 27092 w 121502"/>
                  <a:gd name="connsiteY2" fmla="*/ 129712 h 129712"/>
                  <a:gd name="connsiteX3" fmla="*/ 0 w 121502"/>
                  <a:gd name="connsiteY3" fmla="*/ 129712 h 129712"/>
                  <a:gd name="connsiteX4" fmla="*/ 45974 w 121502"/>
                  <a:gd name="connsiteY4" fmla="*/ 0 h 129712"/>
                  <a:gd name="connsiteX5" fmla="*/ 75529 w 121502"/>
                  <a:gd name="connsiteY5" fmla="*/ 0 h 129712"/>
                  <a:gd name="connsiteX6" fmla="*/ 121503 w 121502"/>
                  <a:gd name="connsiteY6" fmla="*/ 129712 h 129712"/>
                  <a:gd name="connsiteX7" fmla="*/ 93590 w 121502"/>
                  <a:gd name="connsiteY7" fmla="*/ 129712 h 129712"/>
                  <a:gd name="connsiteX8" fmla="*/ 84559 w 121502"/>
                  <a:gd name="connsiteY8" fmla="*/ 100979 h 129712"/>
                  <a:gd name="connsiteX9" fmla="*/ 77171 w 121502"/>
                  <a:gd name="connsiteY9" fmla="*/ 78813 h 129712"/>
                  <a:gd name="connsiteX10" fmla="*/ 60751 w 121502"/>
                  <a:gd name="connsiteY10" fmla="*/ 28734 h 129712"/>
                  <a:gd name="connsiteX11" fmla="*/ 44332 w 121502"/>
                  <a:gd name="connsiteY11" fmla="*/ 78813 h 129712"/>
                  <a:gd name="connsiteX12" fmla="*/ 77171 w 121502"/>
                  <a:gd name="connsiteY12" fmla="*/ 78813 h 12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1502" h="129712">
                    <a:moveTo>
                      <a:pt x="84559" y="100979"/>
                    </a:moveTo>
                    <a:lnTo>
                      <a:pt x="36943" y="100979"/>
                    </a:lnTo>
                    <a:lnTo>
                      <a:pt x="27092" y="129712"/>
                    </a:lnTo>
                    <a:lnTo>
                      <a:pt x="0" y="129712"/>
                    </a:lnTo>
                    <a:lnTo>
                      <a:pt x="45974" y="0"/>
                    </a:lnTo>
                    <a:lnTo>
                      <a:pt x="75529" y="0"/>
                    </a:lnTo>
                    <a:lnTo>
                      <a:pt x="121503" y="129712"/>
                    </a:lnTo>
                    <a:lnTo>
                      <a:pt x="93590" y="129712"/>
                    </a:lnTo>
                    <a:lnTo>
                      <a:pt x="84559" y="100979"/>
                    </a:lnTo>
                    <a:close/>
                    <a:moveTo>
                      <a:pt x="77171" y="78813"/>
                    </a:moveTo>
                    <a:lnTo>
                      <a:pt x="60751" y="28734"/>
                    </a:lnTo>
                    <a:lnTo>
                      <a:pt x="44332" y="78813"/>
                    </a:lnTo>
                    <a:lnTo>
                      <a:pt x="77171" y="7881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4" name="Vrije vorm: vorm 63">
                <a:extLst>
                  <a:ext uri="{FF2B5EF4-FFF2-40B4-BE49-F238E27FC236}">
                    <a16:creationId xmlns:a16="http://schemas.microsoft.com/office/drawing/2014/main" id="{A954EEC9-1219-4AB1-ACB7-DE0AECBA422B}"/>
                  </a:ext>
                </a:extLst>
              </p:cNvPr>
              <p:cNvSpPr/>
              <p:nvPr/>
            </p:nvSpPr>
            <p:spPr>
              <a:xfrm>
                <a:off x="10956781" y="6578870"/>
                <a:ext cx="91948" cy="133817"/>
              </a:xfrm>
              <a:custGeom>
                <a:avLst/>
                <a:gdLst>
                  <a:gd name="connsiteX0" fmla="*/ 53363 w 91948"/>
                  <a:gd name="connsiteY0" fmla="*/ 0 h 133817"/>
                  <a:gd name="connsiteX1" fmla="*/ 81275 w 91948"/>
                  <a:gd name="connsiteY1" fmla="*/ 13956 h 133817"/>
                  <a:gd name="connsiteX2" fmla="*/ 91948 w 91948"/>
                  <a:gd name="connsiteY2" fmla="*/ 49258 h 133817"/>
                  <a:gd name="connsiteX3" fmla="*/ 81275 w 91948"/>
                  <a:gd name="connsiteY3" fmla="*/ 85380 h 133817"/>
                  <a:gd name="connsiteX4" fmla="*/ 53363 w 91948"/>
                  <a:gd name="connsiteY4" fmla="*/ 99337 h 133817"/>
                  <a:gd name="connsiteX5" fmla="*/ 36943 w 91948"/>
                  <a:gd name="connsiteY5" fmla="*/ 95232 h 133817"/>
                  <a:gd name="connsiteX6" fmla="*/ 25450 w 91948"/>
                  <a:gd name="connsiteY6" fmla="*/ 83738 h 133817"/>
                  <a:gd name="connsiteX7" fmla="*/ 25450 w 91948"/>
                  <a:gd name="connsiteY7" fmla="*/ 133817 h 133817"/>
                  <a:gd name="connsiteX8" fmla="*/ 0 w 91948"/>
                  <a:gd name="connsiteY8" fmla="*/ 133817 h 133817"/>
                  <a:gd name="connsiteX9" fmla="*/ 0 w 91948"/>
                  <a:gd name="connsiteY9" fmla="*/ 2463 h 133817"/>
                  <a:gd name="connsiteX10" fmla="*/ 24629 w 91948"/>
                  <a:gd name="connsiteY10" fmla="*/ 2463 h 133817"/>
                  <a:gd name="connsiteX11" fmla="*/ 24629 w 91948"/>
                  <a:gd name="connsiteY11" fmla="*/ 16419 h 133817"/>
                  <a:gd name="connsiteX12" fmla="*/ 36122 w 91948"/>
                  <a:gd name="connsiteY12" fmla="*/ 4105 h 133817"/>
                  <a:gd name="connsiteX13" fmla="*/ 53363 w 91948"/>
                  <a:gd name="connsiteY13" fmla="*/ 0 h 133817"/>
                  <a:gd name="connsiteX14" fmla="*/ 45974 w 91948"/>
                  <a:gd name="connsiteY14" fmla="*/ 77171 h 133817"/>
                  <a:gd name="connsiteX15" fmla="*/ 61572 w 91948"/>
                  <a:gd name="connsiteY15" fmla="*/ 69782 h 133817"/>
                  <a:gd name="connsiteX16" fmla="*/ 67319 w 91948"/>
                  <a:gd name="connsiteY16" fmla="*/ 50079 h 133817"/>
                  <a:gd name="connsiteX17" fmla="*/ 61572 w 91948"/>
                  <a:gd name="connsiteY17" fmla="*/ 30376 h 133817"/>
                  <a:gd name="connsiteX18" fmla="*/ 45974 w 91948"/>
                  <a:gd name="connsiteY18" fmla="*/ 22987 h 133817"/>
                  <a:gd name="connsiteX19" fmla="*/ 30376 w 91948"/>
                  <a:gd name="connsiteY19" fmla="*/ 30376 h 133817"/>
                  <a:gd name="connsiteX20" fmla="*/ 24629 w 91948"/>
                  <a:gd name="connsiteY20" fmla="*/ 50079 h 133817"/>
                  <a:gd name="connsiteX21" fmla="*/ 30376 w 91948"/>
                  <a:gd name="connsiteY21" fmla="*/ 69782 h 133817"/>
                  <a:gd name="connsiteX22" fmla="*/ 45974 w 91948"/>
                  <a:gd name="connsiteY22" fmla="*/ 77171 h 13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948" h="133817">
                    <a:moveTo>
                      <a:pt x="53363" y="0"/>
                    </a:moveTo>
                    <a:cubicBezTo>
                      <a:pt x="64856" y="0"/>
                      <a:pt x="73887" y="4926"/>
                      <a:pt x="81275" y="13956"/>
                    </a:cubicBezTo>
                    <a:cubicBezTo>
                      <a:pt x="88664" y="22987"/>
                      <a:pt x="91948" y="35301"/>
                      <a:pt x="91948" y="49258"/>
                    </a:cubicBezTo>
                    <a:cubicBezTo>
                      <a:pt x="91948" y="64035"/>
                      <a:pt x="88664" y="75529"/>
                      <a:pt x="81275" y="85380"/>
                    </a:cubicBezTo>
                    <a:cubicBezTo>
                      <a:pt x="73887" y="94411"/>
                      <a:pt x="64856" y="99337"/>
                      <a:pt x="53363" y="99337"/>
                    </a:cubicBezTo>
                    <a:cubicBezTo>
                      <a:pt x="47616" y="99337"/>
                      <a:pt x="41869" y="97695"/>
                      <a:pt x="36943" y="95232"/>
                    </a:cubicBezTo>
                    <a:cubicBezTo>
                      <a:pt x="32018" y="92769"/>
                      <a:pt x="27913" y="88664"/>
                      <a:pt x="25450" y="83738"/>
                    </a:cubicBezTo>
                    <a:lnTo>
                      <a:pt x="25450" y="133817"/>
                    </a:lnTo>
                    <a:lnTo>
                      <a:pt x="0" y="133817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6419"/>
                    </a:lnTo>
                    <a:cubicBezTo>
                      <a:pt x="27092" y="11494"/>
                      <a:pt x="30376" y="7389"/>
                      <a:pt x="36122" y="4105"/>
                    </a:cubicBezTo>
                    <a:cubicBezTo>
                      <a:pt x="41869" y="821"/>
                      <a:pt x="46795" y="0"/>
                      <a:pt x="53363" y="0"/>
                    </a:cubicBezTo>
                    <a:close/>
                    <a:moveTo>
                      <a:pt x="45974" y="77171"/>
                    </a:moveTo>
                    <a:cubicBezTo>
                      <a:pt x="52542" y="77171"/>
                      <a:pt x="57468" y="74708"/>
                      <a:pt x="61572" y="69782"/>
                    </a:cubicBezTo>
                    <a:cubicBezTo>
                      <a:pt x="65677" y="64856"/>
                      <a:pt x="67319" y="58288"/>
                      <a:pt x="67319" y="50079"/>
                    </a:cubicBezTo>
                    <a:cubicBezTo>
                      <a:pt x="67319" y="41869"/>
                      <a:pt x="65677" y="35301"/>
                      <a:pt x="61572" y="30376"/>
                    </a:cubicBezTo>
                    <a:cubicBezTo>
                      <a:pt x="57468" y="25450"/>
                      <a:pt x="52542" y="22987"/>
                      <a:pt x="45974" y="22987"/>
                    </a:cubicBezTo>
                    <a:cubicBezTo>
                      <a:pt x="39406" y="22987"/>
                      <a:pt x="34481" y="25450"/>
                      <a:pt x="30376" y="30376"/>
                    </a:cubicBezTo>
                    <a:cubicBezTo>
                      <a:pt x="26271" y="35301"/>
                      <a:pt x="24629" y="41869"/>
                      <a:pt x="24629" y="50079"/>
                    </a:cubicBezTo>
                    <a:cubicBezTo>
                      <a:pt x="24629" y="58288"/>
                      <a:pt x="26271" y="64856"/>
                      <a:pt x="30376" y="69782"/>
                    </a:cubicBezTo>
                    <a:cubicBezTo>
                      <a:pt x="34481" y="74708"/>
                      <a:pt x="39406" y="77171"/>
                      <a:pt x="45974" y="7717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5" name="Vrije vorm: vorm 64">
                <a:extLst>
                  <a:ext uri="{FF2B5EF4-FFF2-40B4-BE49-F238E27FC236}">
                    <a16:creationId xmlns:a16="http://schemas.microsoft.com/office/drawing/2014/main" id="{8CD6A996-32EA-4CF3-A3B7-03AA31FFA2BB}"/>
                  </a:ext>
                </a:extLst>
              </p:cNvPr>
              <p:cNvSpPr/>
              <p:nvPr/>
            </p:nvSpPr>
            <p:spPr>
              <a:xfrm>
                <a:off x="11060222" y="6579691"/>
                <a:ext cx="93589" cy="98515"/>
              </a:xfrm>
              <a:custGeom>
                <a:avLst/>
                <a:gdLst>
                  <a:gd name="connsiteX0" fmla="*/ 46795 w 93589"/>
                  <a:gd name="connsiteY0" fmla="*/ 98516 h 98515"/>
                  <a:gd name="connsiteX1" fmla="*/ 22166 w 93589"/>
                  <a:gd name="connsiteY1" fmla="*/ 91948 h 98515"/>
                  <a:gd name="connsiteX2" fmla="*/ 5747 w 93589"/>
                  <a:gd name="connsiteY2" fmla="*/ 73887 h 98515"/>
                  <a:gd name="connsiteX3" fmla="*/ 0 w 93589"/>
                  <a:gd name="connsiteY3" fmla="*/ 49258 h 98515"/>
                  <a:gd name="connsiteX4" fmla="*/ 5747 w 93589"/>
                  <a:gd name="connsiteY4" fmla="*/ 24629 h 98515"/>
                  <a:gd name="connsiteX5" fmla="*/ 22166 w 93589"/>
                  <a:gd name="connsiteY5" fmla="*/ 6568 h 98515"/>
                  <a:gd name="connsiteX6" fmla="*/ 46795 w 93589"/>
                  <a:gd name="connsiteY6" fmla="*/ 0 h 98515"/>
                  <a:gd name="connsiteX7" fmla="*/ 71424 w 93589"/>
                  <a:gd name="connsiteY7" fmla="*/ 6568 h 98515"/>
                  <a:gd name="connsiteX8" fmla="*/ 87843 w 93589"/>
                  <a:gd name="connsiteY8" fmla="*/ 24629 h 98515"/>
                  <a:gd name="connsiteX9" fmla="*/ 93590 w 93589"/>
                  <a:gd name="connsiteY9" fmla="*/ 49258 h 98515"/>
                  <a:gd name="connsiteX10" fmla="*/ 87843 w 93589"/>
                  <a:gd name="connsiteY10" fmla="*/ 73887 h 98515"/>
                  <a:gd name="connsiteX11" fmla="*/ 71424 w 93589"/>
                  <a:gd name="connsiteY11" fmla="*/ 91948 h 98515"/>
                  <a:gd name="connsiteX12" fmla="*/ 46795 w 93589"/>
                  <a:gd name="connsiteY12" fmla="*/ 98516 h 98515"/>
                  <a:gd name="connsiteX13" fmla="*/ 32018 w 93589"/>
                  <a:gd name="connsiteY13" fmla="*/ 68961 h 98515"/>
                  <a:gd name="connsiteX14" fmla="*/ 47616 w 93589"/>
                  <a:gd name="connsiteY14" fmla="*/ 76350 h 98515"/>
                  <a:gd name="connsiteX15" fmla="*/ 63214 w 93589"/>
                  <a:gd name="connsiteY15" fmla="*/ 68961 h 98515"/>
                  <a:gd name="connsiteX16" fmla="*/ 68961 w 93589"/>
                  <a:gd name="connsiteY16" fmla="*/ 49258 h 98515"/>
                  <a:gd name="connsiteX17" fmla="*/ 63214 w 93589"/>
                  <a:gd name="connsiteY17" fmla="*/ 29555 h 98515"/>
                  <a:gd name="connsiteX18" fmla="*/ 47616 w 93589"/>
                  <a:gd name="connsiteY18" fmla="*/ 22166 h 98515"/>
                  <a:gd name="connsiteX19" fmla="*/ 32018 w 93589"/>
                  <a:gd name="connsiteY19" fmla="*/ 29555 h 98515"/>
                  <a:gd name="connsiteX20" fmla="*/ 26271 w 93589"/>
                  <a:gd name="connsiteY20" fmla="*/ 49258 h 98515"/>
                  <a:gd name="connsiteX21" fmla="*/ 32018 w 93589"/>
                  <a:gd name="connsiteY21" fmla="*/ 68961 h 98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3589" h="98515">
                    <a:moveTo>
                      <a:pt x="46795" y="98516"/>
                    </a:moveTo>
                    <a:cubicBezTo>
                      <a:pt x="37764" y="98516"/>
                      <a:pt x="29555" y="96053"/>
                      <a:pt x="22166" y="91948"/>
                    </a:cubicBezTo>
                    <a:cubicBezTo>
                      <a:pt x="14777" y="87843"/>
                      <a:pt x="9852" y="81276"/>
                      <a:pt x="5747" y="73887"/>
                    </a:cubicBezTo>
                    <a:cubicBezTo>
                      <a:pt x="1642" y="66498"/>
                      <a:pt x="0" y="58289"/>
                      <a:pt x="0" y="49258"/>
                    </a:cubicBezTo>
                    <a:cubicBezTo>
                      <a:pt x="0" y="40227"/>
                      <a:pt x="1642" y="32018"/>
                      <a:pt x="5747" y="24629"/>
                    </a:cubicBezTo>
                    <a:cubicBezTo>
                      <a:pt x="9852" y="17240"/>
                      <a:pt x="14777" y="11494"/>
                      <a:pt x="22166" y="6568"/>
                    </a:cubicBezTo>
                    <a:cubicBezTo>
                      <a:pt x="29555" y="2463"/>
                      <a:pt x="37764" y="0"/>
                      <a:pt x="46795" y="0"/>
                    </a:cubicBezTo>
                    <a:cubicBezTo>
                      <a:pt x="55826" y="0"/>
                      <a:pt x="64035" y="2463"/>
                      <a:pt x="71424" y="6568"/>
                    </a:cubicBezTo>
                    <a:cubicBezTo>
                      <a:pt x="78813" y="10673"/>
                      <a:pt x="83738" y="17240"/>
                      <a:pt x="87843" y="24629"/>
                    </a:cubicBezTo>
                    <a:cubicBezTo>
                      <a:pt x="91948" y="32018"/>
                      <a:pt x="93590" y="40227"/>
                      <a:pt x="93590" y="49258"/>
                    </a:cubicBezTo>
                    <a:cubicBezTo>
                      <a:pt x="93590" y="58289"/>
                      <a:pt x="91948" y="66498"/>
                      <a:pt x="87843" y="73887"/>
                    </a:cubicBezTo>
                    <a:cubicBezTo>
                      <a:pt x="83738" y="81276"/>
                      <a:pt x="78813" y="87022"/>
                      <a:pt x="71424" y="91948"/>
                    </a:cubicBezTo>
                    <a:cubicBezTo>
                      <a:pt x="64035" y="96053"/>
                      <a:pt x="55826" y="98516"/>
                      <a:pt x="46795" y="98516"/>
                    </a:cubicBezTo>
                    <a:close/>
                    <a:moveTo>
                      <a:pt x="32018" y="68961"/>
                    </a:moveTo>
                    <a:cubicBezTo>
                      <a:pt x="36122" y="73887"/>
                      <a:pt x="41048" y="76350"/>
                      <a:pt x="47616" y="76350"/>
                    </a:cubicBezTo>
                    <a:cubicBezTo>
                      <a:pt x="54184" y="76350"/>
                      <a:pt x="59109" y="73887"/>
                      <a:pt x="63214" y="68961"/>
                    </a:cubicBezTo>
                    <a:cubicBezTo>
                      <a:pt x="67319" y="64035"/>
                      <a:pt x="68961" y="57468"/>
                      <a:pt x="68961" y="49258"/>
                    </a:cubicBezTo>
                    <a:cubicBezTo>
                      <a:pt x="68961" y="41048"/>
                      <a:pt x="67319" y="34481"/>
                      <a:pt x="63214" y="29555"/>
                    </a:cubicBezTo>
                    <a:cubicBezTo>
                      <a:pt x="59109" y="24629"/>
                      <a:pt x="54184" y="22166"/>
                      <a:pt x="47616" y="22166"/>
                    </a:cubicBezTo>
                    <a:cubicBezTo>
                      <a:pt x="41048" y="22166"/>
                      <a:pt x="36122" y="24629"/>
                      <a:pt x="32018" y="29555"/>
                    </a:cubicBezTo>
                    <a:cubicBezTo>
                      <a:pt x="27913" y="34481"/>
                      <a:pt x="26271" y="41048"/>
                      <a:pt x="26271" y="49258"/>
                    </a:cubicBezTo>
                    <a:cubicBezTo>
                      <a:pt x="26271" y="56647"/>
                      <a:pt x="27913" y="63214"/>
                      <a:pt x="32018" y="6896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6" name="Vrije vorm: vorm 65">
                <a:extLst>
                  <a:ext uri="{FF2B5EF4-FFF2-40B4-BE49-F238E27FC236}">
                    <a16:creationId xmlns:a16="http://schemas.microsoft.com/office/drawing/2014/main" id="{5ED79B33-B062-488C-831A-791F40405E95}"/>
                  </a:ext>
                </a:extLst>
              </p:cNvPr>
              <p:cNvSpPr/>
              <p:nvPr/>
            </p:nvSpPr>
            <p:spPr>
              <a:xfrm>
                <a:off x="11161201" y="6554241"/>
                <a:ext cx="64035" cy="123144"/>
              </a:xfrm>
              <a:custGeom>
                <a:avLst/>
                <a:gdLst>
                  <a:gd name="connsiteX0" fmla="*/ 45974 w 64035"/>
                  <a:gd name="connsiteY0" fmla="*/ 123145 h 123144"/>
                  <a:gd name="connsiteX1" fmla="*/ 22166 w 64035"/>
                  <a:gd name="connsiteY1" fmla="*/ 115756 h 123144"/>
                  <a:gd name="connsiteX2" fmla="*/ 15598 w 64035"/>
                  <a:gd name="connsiteY2" fmla="*/ 93590 h 123144"/>
                  <a:gd name="connsiteX3" fmla="*/ 15598 w 64035"/>
                  <a:gd name="connsiteY3" fmla="*/ 49258 h 123144"/>
                  <a:gd name="connsiteX4" fmla="*/ 0 w 64035"/>
                  <a:gd name="connsiteY4" fmla="*/ 49258 h 123144"/>
                  <a:gd name="connsiteX5" fmla="*/ 0 w 64035"/>
                  <a:gd name="connsiteY5" fmla="*/ 27913 h 123144"/>
                  <a:gd name="connsiteX6" fmla="*/ 15598 w 64035"/>
                  <a:gd name="connsiteY6" fmla="*/ 27913 h 123144"/>
                  <a:gd name="connsiteX7" fmla="*/ 15598 w 64035"/>
                  <a:gd name="connsiteY7" fmla="*/ 0 h 123144"/>
                  <a:gd name="connsiteX8" fmla="*/ 41048 w 64035"/>
                  <a:gd name="connsiteY8" fmla="*/ 0 h 123144"/>
                  <a:gd name="connsiteX9" fmla="*/ 41048 w 64035"/>
                  <a:gd name="connsiteY9" fmla="*/ 27913 h 123144"/>
                  <a:gd name="connsiteX10" fmla="*/ 64035 w 64035"/>
                  <a:gd name="connsiteY10" fmla="*/ 27913 h 123144"/>
                  <a:gd name="connsiteX11" fmla="*/ 64035 w 64035"/>
                  <a:gd name="connsiteY11" fmla="*/ 49258 h 123144"/>
                  <a:gd name="connsiteX12" fmla="*/ 41048 w 64035"/>
                  <a:gd name="connsiteY12" fmla="*/ 49258 h 123144"/>
                  <a:gd name="connsiteX13" fmla="*/ 41048 w 64035"/>
                  <a:gd name="connsiteY13" fmla="*/ 89485 h 123144"/>
                  <a:gd name="connsiteX14" fmla="*/ 43511 w 64035"/>
                  <a:gd name="connsiteY14" fmla="*/ 98516 h 123144"/>
                  <a:gd name="connsiteX15" fmla="*/ 52542 w 64035"/>
                  <a:gd name="connsiteY15" fmla="*/ 100979 h 123144"/>
                  <a:gd name="connsiteX16" fmla="*/ 64035 w 64035"/>
                  <a:gd name="connsiteY16" fmla="*/ 99337 h 123144"/>
                  <a:gd name="connsiteX17" fmla="*/ 64035 w 64035"/>
                  <a:gd name="connsiteY17" fmla="*/ 120682 h 123144"/>
                  <a:gd name="connsiteX18" fmla="*/ 45974 w 64035"/>
                  <a:gd name="connsiteY18" fmla="*/ 123145 h 12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4035" h="123144">
                    <a:moveTo>
                      <a:pt x="45974" y="123145"/>
                    </a:moveTo>
                    <a:cubicBezTo>
                      <a:pt x="34481" y="123145"/>
                      <a:pt x="27092" y="120682"/>
                      <a:pt x="22166" y="115756"/>
                    </a:cubicBezTo>
                    <a:cubicBezTo>
                      <a:pt x="17240" y="110830"/>
                      <a:pt x="15598" y="103442"/>
                      <a:pt x="15598" y="93590"/>
                    </a:cubicBezTo>
                    <a:lnTo>
                      <a:pt x="15598" y="49258"/>
                    </a:lnTo>
                    <a:lnTo>
                      <a:pt x="0" y="49258"/>
                    </a:lnTo>
                    <a:lnTo>
                      <a:pt x="0" y="27913"/>
                    </a:lnTo>
                    <a:lnTo>
                      <a:pt x="15598" y="27913"/>
                    </a:lnTo>
                    <a:lnTo>
                      <a:pt x="15598" y="0"/>
                    </a:lnTo>
                    <a:lnTo>
                      <a:pt x="41048" y="0"/>
                    </a:lnTo>
                    <a:lnTo>
                      <a:pt x="41048" y="27913"/>
                    </a:lnTo>
                    <a:lnTo>
                      <a:pt x="64035" y="27913"/>
                    </a:lnTo>
                    <a:lnTo>
                      <a:pt x="64035" y="49258"/>
                    </a:lnTo>
                    <a:lnTo>
                      <a:pt x="41048" y="49258"/>
                    </a:lnTo>
                    <a:lnTo>
                      <a:pt x="41048" y="89485"/>
                    </a:lnTo>
                    <a:cubicBezTo>
                      <a:pt x="41048" y="93590"/>
                      <a:pt x="41869" y="96053"/>
                      <a:pt x="43511" y="98516"/>
                    </a:cubicBezTo>
                    <a:cubicBezTo>
                      <a:pt x="45153" y="100158"/>
                      <a:pt x="48437" y="100979"/>
                      <a:pt x="52542" y="100979"/>
                    </a:cubicBezTo>
                    <a:cubicBezTo>
                      <a:pt x="56647" y="100979"/>
                      <a:pt x="59930" y="100158"/>
                      <a:pt x="64035" y="99337"/>
                    </a:cubicBezTo>
                    <a:lnTo>
                      <a:pt x="64035" y="120682"/>
                    </a:lnTo>
                    <a:cubicBezTo>
                      <a:pt x="58289" y="122324"/>
                      <a:pt x="52542" y="123145"/>
                      <a:pt x="45974" y="1231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7" name="Vrije vorm: vorm 66">
                <a:extLst>
                  <a:ext uri="{FF2B5EF4-FFF2-40B4-BE49-F238E27FC236}">
                    <a16:creationId xmlns:a16="http://schemas.microsoft.com/office/drawing/2014/main" id="{FA54CDCA-551D-430F-A84C-ABB1F8D6543E}"/>
                  </a:ext>
                </a:extLst>
              </p:cNvPr>
              <p:cNvSpPr/>
              <p:nvPr/>
            </p:nvSpPr>
            <p:spPr>
              <a:xfrm>
                <a:off x="11240835" y="6540284"/>
                <a:ext cx="82917" cy="135459"/>
              </a:xfrm>
              <a:custGeom>
                <a:avLst/>
                <a:gdLst>
                  <a:gd name="connsiteX0" fmla="*/ 52542 w 82917"/>
                  <a:gd name="connsiteY0" fmla="*/ 38585 h 135459"/>
                  <a:gd name="connsiteX1" fmla="*/ 74708 w 82917"/>
                  <a:gd name="connsiteY1" fmla="*/ 47616 h 135459"/>
                  <a:gd name="connsiteX2" fmla="*/ 82917 w 82917"/>
                  <a:gd name="connsiteY2" fmla="*/ 73887 h 135459"/>
                  <a:gd name="connsiteX3" fmla="*/ 82917 w 82917"/>
                  <a:gd name="connsiteY3" fmla="*/ 135459 h 135459"/>
                  <a:gd name="connsiteX4" fmla="*/ 57468 w 82917"/>
                  <a:gd name="connsiteY4" fmla="*/ 135459 h 135459"/>
                  <a:gd name="connsiteX5" fmla="*/ 57468 w 82917"/>
                  <a:gd name="connsiteY5" fmla="*/ 80455 h 135459"/>
                  <a:gd name="connsiteX6" fmla="*/ 54184 w 82917"/>
                  <a:gd name="connsiteY6" fmla="*/ 66498 h 135459"/>
                  <a:gd name="connsiteX7" fmla="*/ 43511 w 82917"/>
                  <a:gd name="connsiteY7" fmla="*/ 61572 h 135459"/>
                  <a:gd name="connsiteX8" fmla="*/ 30376 w 82917"/>
                  <a:gd name="connsiteY8" fmla="*/ 67319 h 135459"/>
                  <a:gd name="connsiteX9" fmla="*/ 25450 w 82917"/>
                  <a:gd name="connsiteY9" fmla="*/ 82096 h 135459"/>
                  <a:gd name="connsiteX10" fmla="*/ 25450 w 82917"/>
                  <a:gd name="connsiteY10" fmla="*/ 135459 h 135459"/>
                  <a:gd name="connsiteX11" fmla="*/ 0 w 82917"/>
                  <a:gd name="connsiteY11" fmla="*/ 135459 h 135459"/>
                  <a:gd name="connsiteX12" fmla="*/ 0 w 82917"/>
                  <a:gd name="connsiteY12" fmla="*/ 0 h 135459"/>
                  <a:gd name="connsiteX13" fmla="*/ 25450 w 82917"/>
                  <a:gd name="connsiteY13" fmla="*/ 0 h 135459"/>
                  <a:gd name="connsiteX14" fmla="*/ 25450 w 82917"/>
                  <a:gd name="connsiteY14" fmla="*/ 53363 h 135459"/>
                  <a:gd name="connsiteX15" fmla="*/ 36122 w 82917"/>
                  <a:gd name="connsiteY15" fmla="*/ 41869 h 135459"/>
                  <a:gd name="connsiteX16" fmla="*/ 52542 w 82917"/>
                  <a:gd name="connsiteY16" fmla="*/ 38585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2917" h="135459">
                    <a:moveTo>
                      <a:pt x="52542" y="38585"/>
                    </a:moveTo>
                    <a:cubicBezTo>
                      <a:pt x="61572" y="38585"/>
                      <a:pt x="68961" y="41869"/>
                      <a:pt x="74708" y="47616"/>
                    </a:cubicBezTo>
                    <a:cubicBezTo>
                      <a:pt x="79634" y="53363"/>
                      <a:pt x="82917" y="62393"/>
                      <a:pt x="82917" y="73887"/>
                    </a:cubicBezTo>
                    <a:lnTo>
                      <a:pt x="82917" y="135459"/>
                    </a:lnTo>
                    <a:lnTo>
                      <a:pt x="57468" y="135459"/>
                    </a:lnTo>
                    <a:lnTo>
                      <a:pt x="57468" y="80455"/>
                    </a:lnTo>
                    <a:cubicBezTo>
                      <a:pt x="57468" y="74708"/>
                      <a:pt x="56647" y="69782"/>
                      <a:pt x="54184" y="66498"/>
                    </a:cubicBezTo>
                    <a:cubicBezTo>
                      <a:pt x="51721" y="63214"/>
                      <a:pt x="48437" y="61572"/>
                      <a:pt x="43511" y="61572"/>
                    </a:cubicBezTo>
                    <a:cubicBezTo>
                      <a:pt x="37764" y="61572"/>
                      <a:pt x="33660" y="63214"/>
                      <a:pt x="30376" y="67319"/>
                    </a:cubicBezTo>
                    <a:cubicBezTo>
                      <a:pt x="27092" y="70603"/>
                      <a:pt x="25450" y="75529"/>
                      <a:pt x="25450" y="82096"/>
                    </a:cubicBezTo>
                    <a:lnTo>
                      <a:pt x="25450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53363"/>
                    </a:lnTo>
                    <a:cubicBezTo>
                      <a:pt x="27913" y="48437"/>
                      <a:pt x="31197" y="45153"/>
                      <a:pt x="36122" y="41869"/>
                    </a:cubicBezTo>
                    <a:cubicBezTo>
                      <a:pt x="41048" y="40227"/>
                      <a:pt x="45974" y="38585"/>
                      <a:pt x="52542" y="3858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8" name="Vrije vorm: vorm 67">
                <a:extLst>
                  <a:ext uri="{FF2B5EF4-FFF2-40B4-BE49-F238E27FC236}">
                    <a16:creationId xmlns:a16="http://schemas.microsoft.com/office/drawing/2014/main" id="{D8F6C339-E6DA-4716-951E-AD3BC33F9545}"/>
                  </a:ext>
                </a:extLst>
              </p:cNvPr>
              <p:cNvSpPr/>
              <p:nvPr/>
            </p:nvSpPr>
            <p:spPr>
              <a:xfrm>
                <a:off x="11338529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69" name="Vrije vorm: vorm 68">
                <a:extLst>
                  <a:ext uri="{FF2B5EF4-FFF2-40B4-BE49-F238E27FC236}">
                    <a16:creationId xmlns:a16="http://schemas.microsoft.com/office/drawing/2014/main" id="{270FDB94-5AB8-4D34-99CA-9F0710C53C5B}"/>
                  </a:ext>
                </a:extLst>
              </p:cNvPr>
              <p:cNvSpPr/>
              <p:nvPr/>
            </p:nvSpPr>
            <p:spPr>
              <a:xfrm>
                <a:off x="11437045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0" name="Vrije vorm: vorm 69">
                <a:extLst>
                  <a:ext uri="{FF2B5EF4-FFF2-40B4-BE49-F238E27FC236}">
                    <a16:creationId xmlns:a16="http://schemas.microsoft.com/office/drawing/2014/main" id="{85F4DC72-6E3B-4733-BDE9-B7BF2ADEEB21}"/>
                  </a:ext>
                </a:extLst>
              </p:cNvPr>
              <p:cNvSpPr/>
              <p:nvPr/>
            </p:nvSpPr>
            <p:spPr>
              <a:xfrm>
                <a:off x="11541307" y="6540284"/>
                <a:ext cx="89485" cy="135459"/>
              </a:xfrm>
              <a:custGeom>
                <a:avLst/>
                <a:gdLst>
                  <a:gd name="connsiteX0" fmla="*/ 34480 w 89485"/>
                  <a:gd name="connsiteY0" fmla="*/ 99337 h 135459"/>
                  <a:gd name="connsiteX1" fmla="*/ 24629 w 89485"/>
                  <a:gd name="connsiteY1" fmla="*/ 110009 h 135459"/>
                  <a:gd name="connsiteX2" fmla="*/ 24629 w 89485"/>
                  <a:gd name="connsiteY2" fmla="*/ 135459 h 135459"/>
                  <a:gd name="connsiteX3" fmla="*/ 0 w 89485"/>
                  <a:gd name="connsiteY3" fmla="*/ 135459 h 135459"/>
                  <a:gd name="connsiteX4" fmla="*/ 0 w 89485"/>
                  <a:gd name="connsiteY4" fmla="*/ 0 h 135459"/>
                  <a:gd name="connsiteX5" fmla="*/ 25450 w 89485"/>
                  <a:gd name="connsiteY5" fmla="*/ 0 h 135459"/>
                  <a:gd name="connsiteX6" fmla="*/ 25450 w 89485"/>
                  <a:gd name="connsiteY6" fmla="*/ 77992 h 135459"/>
                  <a:gd name="connsiteX7" fmla="*/ 58289 w 89485"/>
                  <a:gd name="connsiteY7" fmla="*/ 41048 h 135459"/>
                  <a:gd name="connsiteX8" fmla="*/ 88664 w 89485"/>
                  <a:gd name="connsiteY8" fmla="*/ 41048 h 135459"/>
                  <a:gd name="connsiteX9" fmla="*/ 51721 w 89485"/>
                  <a:gd name="connsiteY9" fmla="*/ 81276 h 135459"/>
                  <a:gd name="connsiteX10" fmla="*/ 89485 w 89485"/>
                  <a:gd name="connsiteY10" fmla="*/ 134638 h 135459"/>
                  <a:gd name="connsiteX11" fmla="*/ 59930 w 89485"/>
                  <a:gd name="connsiteY11" fmla="*/ 134638 h 135459"/>
                  <a:gd name="connsiteX12" fmla="*/ 34480 w 89485"/>
                  <a:gd name="connsiteY12" fmla="*/ 99337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485" h="135459">
                    <a:moveTo>
                      <a:pt x="34480" y="99337"/>
                    </a:moveTo>
                    <a:lnTo>
                      <a:pt x="24629" y="110009"/>
                    </a:lnTo>
                    <a:lnTo>
                      <a:pt x="24629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77992"/>
                    </a:lnTo>
                    <a:lnTo>
                      <a:pt x="58289" y="41048"/>
                    </a:lnTo>
                    <a:lnTo>
                      <a:pt x="88664" y="41048"/>
                    </a:lnTo>
                    <a:lnTo>
                      <a:pt x="51721" y="81276"/>
                    </a:lnTo>
                    <a:lnTo>
                      <a:pt x="89485" y="134638"/>
                    </a:lnTo>
                    <a:lnTo>
                      <a:pt x="59930" y="134638"/>
                    </a:lnTo>
                    <a:lnTo>
                      <a:pt x="34480" y="99337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sp>
          <p:nvSpPr>
            <p:cNvPr id="59" name="Vrije vorm: vorm 58">
              <a:extLst>
                <a:ext uri="{FF2B5EF4-FFF2-40B4-BE49-F238E27FC236}">
                  <a16:creationId xmlns:a16="http://schemas.microsoft.com/office/drawing/2014/main" id="{0C3C8B87-1E68-4071-AE9C-AF56DF7C6E0B}"/>
                </a:ext>
              </a:extLst>
            </p:cNvPr>
            <p:cNvSpPr/>
            <p:nvPr/>
          </p:nvSpPr>
          <p:spPr>
            <a:xfrm>
              <a:off x="10601303" y="6439306"/>
              <a:ext cx="119039" cy="238079"/>
            </a:xfrm>
            <a:custGeom>
              <a:avLst/>
              <a:gdLst>
                <a:gd name="connsiteX0" fmla="*/ 0 w 119039"/>
                <a:gd name="connsiteY0" fmla="*/ 0 h 238079"/>
                <a:gd name="connsiteX1" fmla="*/ 119040 w 119039"/>
                <a:gd name="connsiteY1" fmla="*/ 119040 h 238079"/>
                <a:gd name="connsiteX2" fmla="*/ 0 w 119039"/>
                <a:gd name="connsiteY2" fmla="*/ 238080 h 238079"/>
                <a:gd name="connsiteX3" fmla="*/ 0 w 119039"/>
                <a:gd name="connsiteY3" fmla="*/ 0 h 23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039" h="238079">
                  <a:moveTo>
                    <a:pt x="0" y="0"/>
                  </a:moveTo>
                  <a:cubicBezTo>
                    <a:pt x="65677" y="0"/>
                    <a:pt x="119040" y="53363"/>
                    <a:pt x="119040" y="119040"/>
                  </a:cubicBezTo>
                  <a:cubicBezTo>
                    <a:pt x="119040" y="184717"/>
                    <a:pt x="65677" y="238080"/>
                    <a:pt x="0" y="23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60" name="Vrije vorm: vorm 59">
              <a:extLst>
                <a:ext uri="{FF2B5EF4-FFF2-40B4-BE49-F238E27FC236}">
                  <a16:creationId xmlns:a16="http://schemas.microsoft.com/office/drawing/2014/main" id="{964AB802-F9B7-43B5-B09B-139FD3D7D0D8}"/>
                </a:ext>
              </a:extLst>
            </p:cNvPr>
            <p:cNvSpPr/>
            <p:nvPr/>
          </p:nvSpPr>
          <p:spPr>
            <a:xfrm>
              <a:off x="10601303" y="6283323"/>
              <a:ext cx="59109" cy="118218"/>
            </a:xfrm>
            <a:custGeom>
              <a:avLst/>
              <a:gdLst>
                <a:gd name="connsiteX0" fmla="*/ 0 w 59109"/>
                <a:gd name="connsiteY0" fmla="*/ 0 h 118218"/>
                <a:gd name="connsiteX1" fmla="*/ 59109 w 59109"/>
                <a:gd name="connsiteY1" fmla="*/ 59109 h 118218"/>
                <a:gd name="connsiteX2" fmla="*/ 0 w 59109"/>
                <a:gd name="connsiteY2" fmla="*/ 118219 h 118218"/>
                <a:gd name="connsiteX3" fmla="*/ 0 w 59109"/>
                <a:gd name="connsiteY3" fmla="*/ 0 h 11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09" h="118218">
                  <a:moveTo>
                    <a:pt x="0" y="0"/>
                  </a:moveTo>
                  <a:cubicBezTo>
                    <a:pt x="32839" y="0"/>
                    <a:pt x="59109" y="26271"/>
                    <a:pt x="59109" y="59109"/>
                  </a:cubicBezTo>
                  <a:cubicBezTo>
                    <a:pt x="59109" y="91948"/>
                    <a:pt x="32839" y="118219"/>
                    <a:pt x="0" y="118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61" name="Vrije vorm: vorm 60">
              <a:extLst>
                <a:ext uri="{FF2B5EF4-FFF2-40B4-BE49-F238E27FC236}">
                  <a16:creationId xmlns:a16="http://schemas.microsoft.com/office/drawing/2014/main" id="{19F1181A-2342-4CF6-BA9C-2BD31E36D0EB}"/>
                </a:ext>
              </a:extLst>
            </p:cNvPr>
            <p:cNvSpPr/>
            <p:nvPr/>
          </p:nvSpPr>
          <p:spPr>
            <a:xfrm>
              <a:off x="10507713" y="6589542"/>
              <a:ext cx="68961" cy="137922"/>
            </a:xfrm>
            <a:custGeom>
              <a:avLst/>
              <a:gdLst>
                <a:gd name="connsiteX0" fmla="*/ 68961 w 68961"/>
                <a:gd name="connsiteY0" fmla="*/ 137922 h 137922"/>
                <a:gd name="connsiteX1" fmla="*/ 0 w 68961"/>
                <a:gd name="connsiteY1" fmla="*/ 68961 h 137922"/>
                <a:gd name="connsiteX2" fmla="*/ 68961 w 68961"/>
                <a:gd name="connsiteY2" fmla="*/ 0 h 137922"/>
                <a:gd name="connsiteX3" fmla="*/ 68961 w 68961"/>
                <a:gd name="connsiteY3" fmla="*/ 137922 h 13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" h="137922">
                  <a:moveTo>
                    <a:pt x="68961" y="137922"/>
                  </a:moveTo>
                  <a:cubicBezTo>
                    <a:pt x="31197" y="137922"/>
                    <a:pt x="0" y="107546"/>
                    <a:pt x="0" y="68961"/>
                  </a:cubicBezTo>
                  <a:cubicBezTo>
                    <a:pt x="0" y="30376"/>
                    <a:pt x="31197" y="0"/>
                    <a:pt x="68961" y="0"/>
                  </a:cubicBezTo>
                  <a:lnTo>
                    <a:pt x="68961" y="137922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62" name="Vrije vorm: vorm 61">
              <a:extLst>
                <a:ext uri="{FF2B5EF4-FFF2-40B4-BE49-F238E27FC236}">
                  <a16:creationId xmlns:a16="http://schemas.microsoft.com/office/drawing/2014/main" id="{0C228D09-826D-4E62-94AB-B77E2760F62A}"/>
                </a:ext>
              </a:extLst>
            </p:cNvPr>
            <p:cNvSpPr/>
            <p:nvPr/>
          </p:nvSpPr>
          <p:spPr>
            <a:xfrm>
              <a:off x="10482264" y="6349821"/>
              <a:ext cx="94410" cy="188000"/>
            </a:xfrm>
            <a:custGeom>
              <a:avLst/>
              <a:gdLst>
                <a:gd name="connsiteX0" fmla="*/ 94411 w 94410"/>
                <a:gd name="connsiteY0" fmla="*/ 188001 h 188000"/>
                <a:gd name="connsiteX1" fmla="*/ 0 w 94410"/>
                <a:gd name="connsiteY1" fmla="*/ 94411 h 188000"/>
                <a:gd name="connsiteX2" fmla="*/ 94411 w 94410"/>
                <a:gd name="connsiteY2" fmla="*/ 0 h 188000"/>
                <a:gd name="connsiteX3" fmla="*/ 94411 w 94410"/>
                <a:gd name="connsiteY3" fmla="*/ 188001 h 18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410" h="188000">
                  <a:moveTo>
                    <a:pt x="94411" y="188001"/>
                  </a:moveTo>
                  <a:cubicBezTo>
                    <a:pt x="41869" y="188001"/>
                    <a:pt x="0" y="146132"/>
                    <a:pt x="0" y="94411"/>
                  </a:cubicBezTo>
                  <a:cubicBezTo>
                    <a:pt x="0" y="42690"/>
                    <a:pt x="41869" y="0"/>
                    <a:pt x="94411" y="0"/>
                  </a:cubicBezTo>
                  <a:lnTo>
                    <a:pt x="94411" y="188001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</p:grpSp>
    </p:spTree>
    <p:extLst>
      <p:ext uri="{BB962C8B-B14F-4D97-AF65-F5344CB8AC3E}">
        <p14:creationId xmlns:p14="http://schemas.microsoft.com/office/powerpoint/2010/main" val="133134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zonder bee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hthoek 91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 err="1">
                <a:solidFill>
                  <a:schemeClr val="accent2"/>
                </a:solidFill>
                <a:latin typeface="+mj-lt"/>
              </a:rPr>
              <a:t>Titeldia</a:t>
            </a:r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 zonder beeld</a:t>
            </a:r>
          </a:p>
        </p:txBody>
      </p:sp>
      <p:grpSp>
        <p:nvGrpSpPr>
          <p:cNvPr id="14" name="Groep 13" hidden="1">
            <a:extLst>
              <a:ext uri="{FF2B5EF4-FFF2-40B4-BE49-F238E27FC236}">
                <a16:creationId xmlns:a16="http://schemas.microsoft.com/office/drawing/2014/main" id="{90194C0A-9F2A-442C-B672-01955B4C0E0A}"/>
              </a:ext>
            </a:extLst>
          </p:cNvPr>
          <p:cNvGrpSpPr/>
          <p:nvPr userDrawn="1"/>
        </p:nvGrpSpPr>
        <p:grpSpPr>
          <a:xfrm>
            <a:off x="12260350" y="-26002"/>
            <a:ext cx="2771986" cy="6335322"/>
            <a:chOff x="12266735" y="-26002"/>
            <a:chExt cx="2773430" cy="6335322"/>
          </a:xfrm>
        </p:grpSpPr>
        <p:sp>
          <p:nvSpPr>
            <p:cNvPr id="42" name="Rechthoek 41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77FC473E-614A-48DA-BE5C-C59FF6E14F68}"/>
                </a:ext>
              </a:extLst>
            </p:cNvPr>
            <p:cNvGrpSpPr/>
            <p:nvPr userDrawn="1"/>
          </p:nvGrpSpPr>
          <p:grpSpPr>
            <a:xfrm>
              <a:off x="12397529" y="358984"/>
              <a:ext cx="2328318" cy="5950336"/>
              <a:chOff x="12397529" y="358984"/>
              <a:chExt cx="2328318" cy="5950336"/>
            </a:xfrm>
          </p:grpSpPr>
          <p:sp>
            <p:nvSpPr>
              <p:cNvPr id="40" name="Tekstvak 33"/>
              <p:cNvSpPr txBox="1"/>
              <p:nvPr userDrawn="1"/>
            </p:nvSpPr>
            <p:spPr>
              <a:xfrm>
                <a:off x="12440545" y="1001584"/>
                <a:ext cx="2285302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erwijder de bestaande foto. Klik op het icoontje om een nieuwe afbeelding in te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oeg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al 40"/>
              <p:cNvSpPr/>
              <p:nvPr userDrawn="1"/>
            </p:nvSpPr>
            <p:spPr>
              <a:xfrm>
                <a:off x="12397529" y="50530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/>
              <p:nvPr userDrawn="1"/>
            </p:nvCxnSpPr>
            <p:spPr>
              <a:xfrm>
                <a:off x="12410414" y="358984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44" name="Rechte verbindingslijn 43"/>
              <p:cNvCxnSpPr/>
              <p:nvPr userDrawn="1"/>
            </p:nvCxnSpPr>
            <p:spPr>
              <a:xfrm>
                <a:off x="12410075" y="2977969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5" name="Afbeelding 44"/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40545" y="2145130"/>
                <a:ext cx="610090" cy="610090"/>
              </a:xfrm>
              <a:prstGeom prst="rect">
                <a:avLst/>
              </a:prstGeom>
            </p:spPr>
          </p:pic>
          <p:sp>
            <p:nvSpPr>
              <p:cNvPr id="46" name="Tekstvak 33"/>
              <p:cNvSpPr txBox="1"/>
              <p:nvPr userDrawn="1"/>
            </p:nvSpPr>
            <p:spPr>
              <a:xfrm>
                <a:off x="12440545" y="3549181"/>
                <a:ext cx="2285302" cy="1477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Selecteer de dia in de miniatuur-weergave en kies voor </a:t>
                </a:r>
                <a:r>
                  <a:rPr kumimoji="0" lang="nl-NL" sz="1599" b="1" i="0" u="none" strike="noStrike" kern="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‘Dia herstellen’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zodat de titel en het logo weer op de foto verschijn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al 46"/>
              <p:cNvSpPr/>
              <p:nvPr userDrawn="1"/>
            </p:nvSpPr>
            <p:spPr>
              <a:xfrm>
                <a:off x="12397529" y="308807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2</a:t>
                </a:r>
              </a:p>
            </p:txBody>
          </p:sp>
          <p:cxnSp>
            <p:nvCxnSpPr>
              <p:cNvPr id="48" name="Rechte verbindingslijn 47"/>
              <p:cNvCxnSpPr/>
              <p:nvPr userDrawn="1"/>
            </p:nvCxnSpPr>
            <p:spPr>
              <a:xfrm>
                <a:off x="12410414" y="6309320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9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" r="35308" b="72620"/>
              <a:stretch/>
            </p:blipFill>
            <p:spPr bwMode="auto">
              <a:xfrm>
                <a:off x="12406313" y="5168767"/>
                <a:ext cx="1495135" cy="9266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0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06313" y="5168767"/>
                <a:ext cx="1842910" cy="99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Afgeronde rechthoek 53"/>
              <p:cNvSpPr/>
              <p:nvPr userDrawn="1"/>
            </p:nvSpPr>
            <p:spPr>
              <a:xfrm>
                <a:off x="13280408" y="5724251"/>
                <a:ext cx="1445100" cy="441053"/>
              </a:xfrm>
              <a:prstGeom prst="roundRect">
                <a:avLst>
                  <a:gd name="adj" fmla="val 427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pic>
            <p:nvPicPr>
              <p:cNvPr id="55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255" t="70556" r="823" b="17746"/>
              <a:stretch/>
            </p:blipFill>
            <p:spPr bwMode="auto">
              <a:xfrm>
                <a:off x="13312829" y="5765033"/>
                <a:ext cx="1380257" cy="388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1202" y="1219201"/>
            <a:ext cx="11051183" cy="2334815"/>
          </a:xfrm>
          <a:effectLst/>
        </p:spPr>
        <p:txBody>
          <a:bodyPr anchor="b"/>
          <a:lstStyle>
            <a:lvl1pPr algn="ctr">
              <a:defRPr kumimoji="0" lang="nl-NL" sz="5997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Century Gothic" charset="0"/>
                <a:cs typeface="Century Gothic" charset="0"/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571202" y="3581957"/>
            <a:ext cx="11051183" cy="1215469"/>
          </a:xfrm>
          <a:effectLst/>
        </p:spPr>
        <p:txBody>
          <a:bodyPr/>
          <a:lstStyle>
            <a:lvl1pPr marL="0" indent="0" algn="ctr">
              <a:buNone/>
              <a:defRPr kumimoji="0" lang="nl-NL" sz="3998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charset="0"/>
                <a:cs typeface="Verdana" charset="0"/>
              </a:defRPr>
            </a:lvl1pPr>
            <a:lvl2pPr marL="45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0A3CBC41-C5B8-4DDB-8740-BF7735D8FE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76807" y="6110881"/>
            <a:ext cx="1148752" cy="44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98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zonder beeld - naam - datu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hthoek 91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 err="1">
                <a:solidFill>
                  <a:schemeClr val="accent2"/>
                </a:solidFill>
                <a:latin typeface="+mj-lt"/>
              </a:rPr>
              <a:t>Titeldia</a:t>
            </a:r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 zonder beeld</a:t>
            </a:r>
          </a:p>
        </p:txBody>
      </p:sp>
      <p:grpSp>
        <p:nvGrpSpPr>
          <p:cNvPr id="14" name="Groep 13" hidden="1">
            <a:extLst>
              <a:ext uri="{FF2B5EF4-FFF2-40B4-BE49-F238E27FC236}">
                <a16:creationId xmlns:a16="http://schemas.microsoft.com/office/drawing/2014/main" id="{90194C0A-9F2A-442C-B672-01955B4C0E0A}"/>
              </a:ext>
            </a:extLst>
          </p:cNvPr>
          <p:cNvGrpSpPr/>
          <p:nvPr userDrawn="1"/>
        </p:nvGrpSpPr>
        <p:grpSpPr>
          <a:xfrm>
            <a:off x="12260350" y="-26002"/>
            <a:ext cx="2771986" cy="6335322"/>
            <a:chOff x="12266735" y="-26002"/>
            <a:chExt cx="2773430" cy="6335322"/>
          </a:xfrm>
        </p:grpSpPr>
        <p:sp>
          <p:nvSpPr>
            <p:cNvPr id="42" name="Rechthoek 41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77FC473E-614A-48DA-BE5C-C59FF6E14F68}"/>
                </a:ext>
              </a:extLst>
            </p:cNvPr>
            <p:cNvGrpSpPr/>
            <p:nvPr userDrawn="1"/>
          </p:nvGrpSpPr>
          <p:grpSpPr>
            <a:xfrm>
              <a:off x="12397529" y="358984"/>
              <a:ext cx="2328318" cy="5950336"/>
              <a:chOff x="12397529" y="358984"/>
              <a:chExt cx="2328318" cy="5950336"/>
            </a:xfrm>
          </p:grpSpPr>
          <p:sp>
            <p:nvSpPr>
              <p:cNvPr id="40" name="Tekstvak 33"/>
              <p:cNvSpPr txBox="1"/>
              <p:nvPr userDrawn="1"/>
            </p:nvSpPr>
            <p:spPr>
              <a:xfrm>
                <a:off x="12440545" y="1001584"/>
                <a:ext cx="2285302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erwijder de bestaande foto. Klik op het icoontje om een nieuwe afbeelding in te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voeg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1" name="Ovaal 40"/>
              <p:cNvSpPr/>
              <p:nvPr userDrawn="1"/>
            </p:nvSpPr>
            <p:spPr>
              <a:xfrm>
                <a:off x="12397529" y="50530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cxnSp>
            <p:nvCxnSpPr>
              <p:cNvPr id="43" name="Rechte verbindingslijn 42"/>
              <p:cNvCxnSpPr/>
              <p:nvPr userDrawn="1"/>
            </p:nvCxnSpPr>
            <p:spPr>
              <a:xfrm>
                <a:off x="12410414" y="358984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cxnSp>
            <p:nvCxnSpPr>
              <p:cNvPr id="44" name="Rechte verbindingslijn 43"/>
              <p:cNvCxnSpPr/>
              <p:nvPr userDrawn="1"/>
            </p:nvCxnSpPr>
            <p:spPr>
              <a:xfrm>
                <a:off x="12410075" y="2977969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5" name="Afbeelding 44"/>
              <p:cNvPicPr>
                <a:picLocks noChangeAspect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440545" y="2145130"/>
                <a:ext cx="610090" cy="610090"/>
              </a:xfrm>
              <a:prstGeom prst="rect">
                <a:avLst/>
              </a:prstGeom>
            </p:spPr>
          </p:pic>
          <p:sp>
            <p:nvSpPr>
              <p:cNvPr id="46" name="Tekstvak 33"/>
              <p:cNvSpPr txBox="1"/>
              <p:nvPr userDrawn="1"/>
            </p:nvSpPr>
            <p:spPr>
              <a:xfrm>
                <a:off x="12440545" y="3549181"/>
                <a:ext cx="2285302" cy="1477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nl-NL"/>
                </a:defPPr>
                <a:lvl1pPr lvl="0">
                  <a:defRPr sz="2800">
                    <a:solidFill>
                      <a:prstClr val="white">
                        <a:lumMod val="75000"/>
                      </a:prstClr>
                    </a:solidFill>
                    <a:latin typeface="+mj-lt"/>
                    <a:ea typeface="Tahoma" pitchFamily="34" charset="0"/>
                    <a:cs typeface="Arial" pitchFamily="34" charset="0"/>
                  </a:defRPr>
                </a:lvl1pPr>
              </a:lstStyle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Selecteer de dia in de miniatuur-weergave en kies voor </a:t>
                </a:r>
                <a:r>
                  <a:rPr kumimoji="0" lang="nl-NL" sz="1599" b="1" i="0" u="none" strike="noStrike" kern="0" cap="none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‘Dia herstellen’ </a:t>
                </a:r>
                <a:r>
                  <a:rPr kumimoji="0" lang="nl-NL" sz="1599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Tahoma" pitchFamily="34" charset="0"/>
                    <a:cs typeface="Arial" pitchFamily="34" charset="0"/>
                  </a:rPr>
                  <a:t>zodat de titel en het logo weer op de foto verschijnen.</a:t>
                </a:r>
                <a:endPara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endParaRPr>
              </a:p>
            </p:txBody>
          </p:sp>
          <p:sp>
            <p:nvSpPr>
              <p:cNvPr id="47" name="Ovaal 46"/>
              <p:cNvSpPr/>
              <p:nvPr userDrawn="1"/>
            </p:nvSpPr>
            <p:spPr>
              <a:xfrm>
                <a:off x="12397529" y="3088077"/>
                <a:ext cx="401538" cy="401538"/>
              </a:xfrm>
              <a:prstGeom prst="ellipse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599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</a:rPr>
                  <a:t>2</a:t>
                </a:r>
              </a:p>
            </p:txBody>
          </p:sp>
          <p:cxnSp>
            <p:nvCxnSpPr>
              <p:cNvPr id="48" name="Rechte verbindingslijn 47"/>
              <p:cNvCxnSpPr/>
              <p:nvPr userDrawn="1"/>
            </p:nvCxnSpPr>
            <p:spPr>
              <a:xfrm>
                <a:off x="12410414" y="6309320"/>
                <a:ext cx="2315433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2"/>
                </a:solidFill>
                <a:prstDash val="solid"/>
              </a:ln>
              <a:effectLst/>
            </p:spPr>
          </p:cxnSp>
          <p:pic>
            <p:nvPicPr>
              <p:cNvPr id="49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-1" r="35308" b="72620"/>
              <a:stretch/>
            </p:blipFill>
            <p:spPr bwMode="auto">
              <a:xfrm>
                <a:off x="12406313" y="5168767"/>
                <a:ext cx="1495135" cy="9266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0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406313" y="5168767"/>
                <a:ext cx="1842910" cy="99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4" name="Afgeronde rechthoek 53"/>
              <p:cNvSpPr/>
              <p:nvPr userDrawn="1"/>
            </p:nvSpPr>
            <p:spPr>
              <a:xfrm>
                <a:off x="13280408" y="5724251"/>
                <a:ext cx="1445100" cy="441053"/>
              </a:xfrm>
              <a:prstGeom prst="roundRect">
                <a:avLst>
                  <a:gd name="adj" fmla="val 4277"/>
                </a:avLst>
              </a:prstGeom>
              <a:solidFill>
                <a:srgbClr val="FFFFFF"/>
              </a:solidFill>
              <a:ln w="6350" cap="flat" cmpd="sng" algn="ctr">
                <a:solidFill>
                  <a:srgbClr val="FFFFFF">
                    <a:lumMod val="75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pic>
            <p:nvPicPr>
              <p:cNvPr id="55" name="Picture 2"/>
              <p:cNvPicPr>
                <a:picLocks noChangeAspect="1" noChangeArrowheads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255" t="70556" r="823" b="17746"/>
              <a:stretch/>
            </p:blipFill>
            <p:spPr bwMode="auto">
              <a:xfrm>
                <a:off x="13312829" y="5765033"/>
                <a:ext cx="1380257" cy="388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71202" y="461021"/>
            <a:ext cx="11051183" cy="2334815"/>
          </a:xfrm>
          <a:effectLst/>
        </p:spPr>
        <p:txBody>
          <a:bodyPr anchor="b"/>
          <a:lstStyle>
            <a:lvl1pPr algn="ctr">
              <a:defRPr kumimoji="0" lang="nl-NL" sz="5997" b="0" i="0" u="none" strike="noStrike" kern="1200" cap="none" spc="0" normalizeH="0" baseline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Century Gothic" charset="0"/>
                <a:cs typeface="Century Gothic" charset="0"/>
              </a:defRPr>
            </a:lvl1pPr>
          </a:lstStyle>
          <a:p>
            <a:r>
              <a:rPr lang="nl-NL" dirty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571202" y="2823777"/>
            <a:ext cx="11051183" cy="1215469"/>
          </a:xfrm>
          <a:effectLst/>
        </p:spPr>
        <p:txBody>
          <a:bodyPr/>
          <a:lstStyle>
            <a:lvl1pPr marL="0" indent="0" algn="ctr">
              <a:buNone/>
              <a:defRPr kumimoji="0" lang="nl-NL" sz="3998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Verdana" charset="0"/>
                <a:cs typeface="Verdana" charset="0"/>
              </a:defRPr>
            </a:lvl1pPr>
            <a:lvl2pPr marL="45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</a:p>
        </p:txBody>
      </p:sp>
      <p:sp>
        <p:nvSpPr>
          <p:cNvPr id="21" name="Tijdelijke aanduiding voor tekst 4">
            <a:extLst>
              <a:ext uri="{FF2B5EF4-FFF2-40B4-BE49-F238E27FC236}">
                <a16:creationId xmlns:a16="http://schemas.microsoft.com/office/drawing/2014/main" id="{31BE2463-AC49-4C5C-B80E-0118828F92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202" y="4179280"/>
            <a:ext cx="11051183" cy="288000"/>
          </a:xfrm>
        </p:spPr>
        <p:txBody>
          <a:bodyPr/>
          <a:lstStyle>
            <a:lvl1pPr marL="0" indent="0" algn="ctr">
              <a:buNone/>
              <a:defRPr kumimoji="0" lang="nl-NL" sz="1599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rvice Apotheek Text" panose="00000500000000000000" pitchFamily="2" charset="0"/>
                <a:ea typeface="Verdana" charset="0"/>
                <a:cs typeface="Service Apotheek Text" panose="00000500000000000000" pitchFamily="2" charset="0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2" name="Tijdelijke aanduiding voor tekst 4">
            <a:extLst>
              <a:ext uri="{FF2B5EF4-FFF2-40B4-BE49-F238E27FC236}">
                <a16:creationId xmlns:a16="http://schemas.microsoft.com/office/drawing/2014/main" id="{6E3473B4-5F97-4B42-9E40-AB46262E3A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202" y="4509152"/>
            <a:ext cx="11051183" cy="288000"/>
          </a:xfrm>
        </p:spPr>
        <p:txBody>
          <a:bodyPr/>
          <a:lstStyle>
            <a:lvl1pPr marL="0" indent="0" algn="ctr">
              <a:buNone/>
              <a:defRPr kumimoji="0" lang="nl-NL" sz="1599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rvice Apotheek Text" panose="00000500000000000000" pitchFamily="2" charset="0"/>
                <a:ea typeface="Verdana" charset="0"/>
                <a:cs typeface="Service Apotheek Text" panose="00000500000000000000" pitchFamily="2" charset="0"/>
              </a:defRPr>
            </a:lvl1pPr>
          </a:lstStyle>
          <a:p>
            <a:pPr lvl="0"/>
            <a:r>
              <a:rPr lang="nl-NL" dirty="0"/>
              <a:t>Datum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D969DD1-D822-442D-AE34-273EDE88A55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76807" y="6110881"/>
            <a:ext cx="1148752" cy="44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6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18A0D-8008-491F-B14A-412DB1646601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7" name="Rechthoek 66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l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itel en object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C0986874-2F8F-4181-8E50-E8DB1C0C12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75701" y="1227139"/>
            <a:ext cx="11046684" cy="478631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 err="1"/>
              <a:t>Bullets</a:t>
            </a:r>
            <a:endParaRPr lang="nl-NL" dirty="0"/>
          </a:p>
          <a:p>
            <a:pPr lvl="1"/>
            <a:r>
              <a:rPr lang="nl-NL" dirty="0"/>
              <a:t>Sub-</a:t>
            </a:r>
            <a:r>
              <a:rPr lang="nl-NL" dirty="0" err="1"/>
              <a:t>bullets</a:t>
            </a:r>
            <a:endParaRPr lang="nl-NL" dirty="0"/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</a:t>
            </a:r>
            <a:r>
              <a:rPr lang="nl-NL" dirty="0" err="1"/>
              <a:t>Bullets</a:t>
            </a:r>
            <a:endParaRPr lang="nl-NL" dirty="0"/>
          </a:p>
          <a:p>
            <a:pPr lvl="8"/>
            <a:r>
              <a:rPr lang="nl-NL" dirty="0"/>
              <a:t>Alt. Sub-kop</a:t>
            </a:r>
          </a:p>
        </p:txBody>
      </p:sp>
    </p:spTree>
    <p:extLst>
      <p:ext uri="{BB962C8B-B14F-4D97-AF65-F5344CB8AC3E}">
        <p14:creationId xmlns:p14="http://schemas.microsoft.com/office/powerpoint/2010/main" val="55712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6ECEED-1E3F-4E86-9670-94F55796F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8EE066D9-453C-4990-8830-55DA604E574D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l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Alleen titel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C82EE9F2-E58C-4E3C-A18D-966349D88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BDD81-370E-42CD-9569-F2F621F3A158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210C1C66-97E1-47B6-959A-105AD5E2A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Ga naar Invoegen Koptekst &amp; Voettekst; Overal toepassen</a:t>
            </a:r>
            <a:endParaRPr lang="nl-NL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E56701A-EA67-4A86-B22E-2DCFE5467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549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C2782-433A-4893-815B-4F9C5BA8DD7D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022223" y="1227600"/>
            <a:ext cx="3600163" cy="4788000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88" name="Rechthoek 87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Beeld (75%/25%)</a:t>
            </a:r>
          </a:p>
        </p:txBody>
      </p:sp>
      <p:grpSp>
        <p:nvGrpSpPr>
          <p:cNvPr id="66" name="Groep 65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7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8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9" name="Ovaal 68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70" name="Ovaal 69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7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2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3" name="Tekstvak 72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75" name="Rechte verbindingslijn 74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76" name="Rechte verbindingslijn 75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9" name="Rechte verbindingslijn 88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90" name="Afbeelding 8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202" name="Tijdelijke aanduiding voor verticale tekst 2">
            <a:extLst>
              <a:ext uri="{FF2B5EF4-FFF2-40B4-BE49-F238E27FC236}">
                <a16:creationId xmlns:a16="http://schemas.microsoft.com/office/drawing/2014/main" id="{E5E32454-27B8-4BCB-98FA-ED462796A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27600"/>
            <a:ext cx="7319586" cy="478800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</p:spTree>
    <p:extLst>
      <p:ext uri="{BB962C8B-B14F-4D97-AF65-F5344CB8AC3E}">
        <p14:creationId xmlns:p14="http://schemas.microsoft.com/office/powerpoint/2010/main" val="367900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266E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15561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2 Beeld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C2782-433A-4893-815B-4F9C5BA8DD7D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022223" y="1227600"/>
            <a:ext cx="3600163" cy="4788000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88" name="Rechthoek 87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2 Beelden</a:t>
            </a:r>
          </a:p>
        </p:txBody>
      </p:sp>
      <p:grpSp>
        <p:nvGrpSpPr>
          <p:cNvPr id="66" name="Groep 65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7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8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9" name="Ovaal 68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70" name="Ovaal 69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7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2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3" name="Tekstvak 72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75" name="Rechte verbindingslijn 74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76" name="Rechte verbindingslijn 75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9" name="Rechte verbindingslijn 88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90" name="Afbeelding 8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202" name="Tijdelijke aanduiding voor verticale tekst 2">
            <a:extLst>
              <a:ext uri="{FF2B5EF4-FFF2-40B4-BE49-F238E27FC236}">
                <a16:creationId xmlns:a16="http://schemas.microsoft.com/office/drawing/2014/main" id="{E5E32454-27B8-4BCB-98FA-ED462796A495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27600"/>
            <a:ext cx="3600163" cy="478800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  <p:sp>
        <p:nvSpPr>
          <p:cNvPr id="22" name="Tijdelijke aanduiding voor afbeelding 2">
            <a:extLst>
              <a:ext uri="{FF2B5EF4-FFF2-40B4-BE49-F238E27FC236}">
                <a16:creationId xmlns:a16="http://schemas.microsoft.com/office/drawing/2014/main" id="{308F4B15-1771-4A96-BFF3-C5E5D633E0E6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295125" y="1227600"/>
            <a:ext cx="3600163" cy="4788000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5060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(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36457-1B2E-450F-B5DD-5868C7E0BC8F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022223" y="1227600"/>
            <a:ext cx="3600163" cy="4788000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88" name="Rechthoek 87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Beeld (25%)</a:t>
            </a:r>
          </a:p>
        </p:txBody>
      </p:sp>
      <p:grpSp>
        <p:nvGrpSpPr>
          <p:cNvPr id="66" name="Groep 65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7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8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9" name="Ovaal 68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70" name="Ovaal 69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7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2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3" name="Tekstvak 72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75" name="Rechte verbindingslijn 74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76" name="Rechte verbindingslijn 75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9" name="Rechte verbindingslijn 88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90" name="Afbeelding 8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255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BB129-0E03-4479-AFAA-6EC9DBBBE4C2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6159467" y="1227138"/>
            <a:ext cx="5456832" cy="4786312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88" name="Rechthoek 87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Beeld (50%/50%)</a:t>
            </a:r>
          </a:p>
        </p:txBody>
      </p:sp>
      <p:grpSp>
        <p:nvGrpSpPr>
          <p:cNvPr id="66" name="Groep 65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7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8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9" name="Ovaal 68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70" name="Ovaal 69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7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2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73" name="Tekstvak 72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74" name="Rechthoek 73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75" name="Rechte verbindingslijn 74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76" name="Rechte verbindingslijn 75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9" name="Rechte verbindingslijn 88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90" name="Afbeelding 8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202" name="Tijdelijke aanduiding voor verticale tekst 2">
            <a:extLst>
              <a:ext uri="{FF2B5EF4-FFF2-40B4-BE49-F238E27FC236}">
                <a16:creationId xmlns:a16="http://schemas.microsoft.com/office/drawing/2014/main" id="{731BCAB8-EC99-4FDD-B5DF-5E72FC763F0A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27600"/>
            <a:ext cx="5456831" cy="478800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</p:spTree>
    <p:extLst>
      <p:ext uri="{BB962C8B-B14F-4D97-AF65-F5344CB8AC3E}">
        <p14:creationId xmlns:p14="http://schemas.microsoft.com/office/powerpoint/2010/main" val="343241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699C2-D579-4B01-9693-1B26635B94E6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296712" y="1227138"/>
            <a:ext cx="7319587" cy="4786312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79" name="Rechthoek 78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Beeld (25%/75%)</a:t>
            </a:r>
          </a:p>
        </p:txBody>
      </p:sp>
      <p:grpSp>
        <p:nvGrpSpPr>
          <p:cNvPr id="63" name="Groep 62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4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5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6" name="Ovaal 65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67" name="Ovaal 66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80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2" name="Tekstvak 81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83" name="Rechthoek 82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84" name="Rechte verbindingslijn 83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5" name="Rechte verbindingslijn 84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6" name="Rechte verbindingslijn 85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87" name="Afbeelding 8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206" name="Tijdelijke aanduiding voor verticale tekst 2">
            <a:extLst>
              <a:ext uri="{FF2B5EF4-FFF2-40B4-BE49-F238E27FC236}">
                <a16:creationId xmlns:a16="http://schemas.microsoft.com/office/drawing/2014/main" id="{31BB6DB8-CFD9-4AE4-BEE8-C8A718BCA72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30897"/>
            <a:ext cx="3594077" cy="478254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</p:spTree>
    <p:extLst>
      <p:ext uri="{BB962C8B-B14F-4D97-AF65-F5344CB8AC3E}">
        <p14:creationId xmlns:p14="http://schemas.microsoft.com/office/powerpoint/2010/main" val="307181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Grafiek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55F44-9DE9-408F-8FDE-E8CE2B8F2B33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6" name="Rechthoek 85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Grafiek (75%/25%)</a:t>
            </a:r>
          </a:p>
        </p:txBody>
      </p:sp>
      <p:sp>
        <p:nvSpPr>
          <p:cNvPr id="164" name="Tijdelijke aanduiding voor grafiek 7"/>
          <p:cNvSpPr>
            <a:spLocks noGrp="1"/>
          </p:cNvSpPr>
          <p:nvPr>
            <p:ph type="chart" sz="quarter" idx="16"/>
          </p:nvPr>
        </p:nvSpPr>
        <p:spPr>
          <a:xfrm>
            <a:off x="6947655" y="1227138"/>
            <a:ext cx="4669969" cy="4786312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71" name="Rechthoek 70"/>
          <p:cNvSpPr/>
          <p:nvPr userDrawn="1"/>
        </p:nvSpPr>
        <p:spPr>
          <a:xfrm>
            <a:off x="12260350" y="-2600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GRAFIEK AANPASSEN</a:t>
            </a:r>
          </a:p>
        </p:txBody>
      </p:sp>
      <p:cxnSp>
        <p:nvCxnSpPr>
          <p:cNvPr id="72" name="Rechte verbindingslijn 71"/>
          <p:cNvCxnSpPr/>
          <p:nvPr userDrawn="1"/>
        </p:nvCxnSpPr>
        <p:spPr>
          <a:xfrm>
            <a:off x="12403954" y="358984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73" name="Tekstvak 33"/>
          <p:cNvSpPr txBox="1"/>
          <p:nvPr userDrawn="1"/>
        </p:nvSpPr>
        <p:spPr>
          <a:xfrm>
            <a:off x="12434069" y="2945800"/>
            <a:ext cx="2066859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Verwijder de bestaande grafiek. Klik op het icoontje om een nieuwe</a:t>
            </a:r>
          </a:p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grafiek in te voegen.</a:t>
            </a:r>
          </a:p>
        </p:txBody>
      </p:sp>
      <p:sp>
        <p:nvSpPr>
          <p:cNvPr id="74" name="Tekstvak 33"/>
          <p:cNvSpPr txBox="1"/>
          <p:nvPr userDrawn="1"/>
        </p:nvSpPr>
        <p:spPr>
          <a:xfrm>
            <a:off x="12434069" y="5546288"/>
            <a:ext cx="214133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Zoek en selecteer de gewenste afbeelding. </a:t>
            </a:r>
            <a:br>
              <a:rPr lang="nl-NL" sz="1599" kern="0">
                <a:solidFill>
                  <a:srgbClr val="000000"/>
                </a:solidFill>
                <a:latin typeface="Calibri"/>
              </a:rPr>
            </a:br>
            <a:r>
              <a:rPr lang="nl-NL" sz="1599" kern="0">
                <a:solidFill>
                  <a:srgbClr val="000000"/>
                </a:solidFill>
                <a:latin typeface="Calibri"/>
              </a:rPr>
              <a:t>Klik op </a:t>
            </a:r>
            <a:r>
              <a:rPr lang="nl-NL" sz="1599" b="1" kern="0">
                <a:solidFill>
                  <a:schemeClr val="tx2"/>
                </a:solidFill>
                <a:latin typeface="Calibri"/>
              </a:rPr>
              <a:t>´Invoegen´</a:t>
            </a:r>
            <a:endParaRPr lang="nl-NL" sz="1599" b="1" kern="0" dirty="0">
              <a:solidFill>
                <a:schemeClr val="tx2"/>
              </a:solidFill>
              <a:latin typeface="Calibri"/>
            </a:endParaRPr>
          </a:p>
        </p:txBody>
      </p:sp>
      <p:sp>
        <p:nvSpPr>
          <p:cNvPr id="135" name="Ovaal 134"/>
          <p:cNvSpPr/>
          <p:nvPr userDrawn="1"/>
        </p:nvSpPr>
        <p:spPr>
          <a:xfrm>
            <a:off x="12391075" y="2449523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1</a:t>
            </a:r>
          </a:p>
        </p:txBody>
      </p:sp>
      <p:sp>
        <p:nvSpPr>
          <p:cNvPr id="136" name="Ovaal 135"/>
          <p:cNvSpPr/>
          <p:nvPr userDrawn="1"/>
        </p:nvSpPr>
        <p:spPr>
          <a:xfrm>
            <a:off x="12391075" y="5013176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2</a:t>
            </a:r>
          </a:p>
        </p:txBody>
      </p:sp>
      <p:pic>
        <p:nvPicPr>
          <p:cNvPr id="137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13535" r="3470" b="13927"/>
          <a:stretch/>
        </p:blipFill>
        <p:spPr bwMode="auto">
          <a:xfrm>
            <a:off x="12431520" y="6398601"/>
            <a:ext cx="1107180" cy="297656"/>
          </a:xfrm>
          <a:prstGeom prst="roundRect">
            <a:avLst>
              <a:gd name="adj" fmla="val 14496"/>
            </a:avLst>
          </a:prstGeom>
          <a:noFill/>
          <a:ln w="6350">
            <a:solidFill>
              <a:srgbClr val="E2AC00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8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4" t="23401" r="80712" b="21471"/>
          <a:stretch/>
        </p:blipFill>
        <p:spPr bwMode="auto">
          <a:xfrm>
            <a:off x="12500941" y="6439083"/>
            <a:ext cx="791676" cy="226219"/>
          </a:xfrm>
          <a:prstGeom prst="roundRect">
            <a:avLst>
              <a:gd name="adj" fmla="val 14496"/>
            </a:avLst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9" name="Tekstvak 138"/>
          <p:cNvSpPr txBox="1"/>
          <p:nvPr userDrawn="1"/>
        </p:nvSpPr>
        <p:spPr>
          <a:xfrm>
            <a:off x="12513559" y="6425480"/>
            <a:ext cx="77905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nl-NL" sz="1099" b="1" kern="0"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latin typeface="Calibri"/>
              </a:rPr>
              <a:t>OK</a:t>
            </a:r>
            <a:endParaRPr lang="nl-NL" sz="1099" b="1" kern="0" dirty="0">
              <a:solidFill>
                <a:srgbClr val="005634">
                  <a:lumMod val="25000"/>
                </a:srgbClr>
              </a:solidFill>
              <a:effectLst>
                <a:outerShdw blurRad="25400" algn="ctr" rotWithShape="0">
                  <a:prstClr val="white"/>
                </a:outerShdw>
              </a:effectLst>
              <a:latin typeface="Calibri"/>
            </a:endParaRPr>
          </a:p>
        </p:txBody>
      </p:sp>
      <p:sp>
        <p:nvSpPr>
          <p:cNvPr id="140" name="Rechthoek 139"/>
          <p:cNvSpPr/>
          <p:nvPr userDrawn="1"/>
        </p:nvSpPr>
        <p:spPr>
          <a:xfrm>
            <a:off x="12260350" y="191683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GRAFIEK INVOEGEN</a:t>
            </a:r>
          </a:p>
        </p:txBody>
      </p:sp>
      <p:cxnSp>
        <p:nvCxnSpPr>
          <p:cNvPr id="141" name="Rechte verbindingslijn 140"/>
          <p:cNvCxnSpPr/>
          <p:nvPr userDrawn="1"/>
        </p:nvCxnSpPr>
        <p:spPr>
          <a:xfrm>
            <a:off x="12403954" y="230320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142" name="Rechte verbindingslijn 141"/>
          <p:cNvCxnSpPr/>
          <p:nvPr userDrawn="1"/>
        </p:nvCxnSpPr>
        <p:spPr>
          <a:xfrm>
            <a:off x="12403615" y="486916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143" name="Rechte verbindingslijn 142"/>
          <p:cNvCxnSpPr/>
          <p:nvPr userDrawn="1"/>
        </p:nvCxnSpPr>
        <p:spPr>
          <a:xfrm>
            <a:off x="12403954" y="6840668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144" name="Rechthoek 962"/>
          <p:cNvSpPr/>
          <p:nvPr userDrawn="1"/>
        </p:nvSpPr>
        <p:spPr>
          <a:xfrm>
            <a:off x="12344800" y="4510254"/>
            <a:ext cx="755014" cy="205789"/>
          </a:xfrm>
          <a:custGeom>
            <a:avLst/>
            <a:gdLst>
              <a:gd name="connsiteX0" fmla="*/ 0 w 664132"/>
              <a:gd name="connsiteY0" fmla="*/ 0 h 277787"/>
              <a:gd name="connsiteX1" fmla="*/ 664132 w 664132"/>
              <a:gd name="connsiteY1" fmla="*/ 0 h 277787"/>
              <a:gd name="connsiteX2" fmla="*/ 664132 w 664132"/>
              <a:gd name="connsiteY2" fmla="*/ 277787 h 277787"/>
              <a:gd name="connsiteX3" fmla="*/ 0 w 664132"/>
              <a:gd name="connsiteY3" fmla="*/ 277787 h 277787"/>
              <a:gd name="connsiteX4" fmla="*/ 0 w 664132"/>
              <a:gd name="connsiteY4" fmla="*/ 0 h 277787"/>
              <a:gd name="connsiteX0" fmla="*/ 0 w 664132"/>
              <a:gd name="connsiteY0" fmla="*/ 0 h 290487"/>
              <a:gd name="connsiteX1" fmla="*/ 664132 w 664132"/>
              <a:gd name="connsiteY1" fmla="*/ 0 h 290487"/>
              <a:gd name="connsiteX2" fmla="*/ 333932 w 664132"/>
              <a:gd name="connsiteY2" fmla="*/ 290487 h 290487"/>
              <a:gd name="connsiteX3" fmla="*/ 0 w 664132"/>
              <a:gd name="connsiteY3" fmla="*/ 277787 h 290487"/>
              <a:gd name="connsiteX4" fmla="*/ 0 w 664132"/>
              <a:gd name="connsiteY4" fmla="*/ 0 h 290487"/>
              <a:gd name="connsiteX0" fmla="*/ 0 w 664132"/>
              <a:gd name="connsiteY0" fmla="*/ 0 h 277787"/>
              <a:gd name="connsiteX1" fmla="*/ 664132 w 664132"/>
              <a:gd name="connsiteY1" fmla="*/ 0 h 277787"/>
              <a:gd name="connsiteX2" fmla="*/ 575232 w 664132"/>
              <a:gd name="connsiteY2" fmla="*/ 271437 h 277787"/>
              <a:gd name="connsiteX3" fmla="*/ 0 w 664132"/>
              <a:gd name="connsiteY3" fmla="*/ 277787 h 277787"/>
              <a:gd name="connsiteX4" fmla="*/ 0 w 664132"/>
              <a:gd name="connsiteY4" fmla="*/ 0 h 277787"/>
              <a:gd name="connsiteX0" fmla="*/ 0 w 708582"/>
              <a:gd name="connsiteY0" fmla="*/ 0 h 277787"/>
              <a:gd name="connsiteX1" fmla="*/ 708582 w 708582"/>
              <a:gd name="connsiteY1" fmla="*/ 31750 h 277787"/>
              <a:gd name="connsiteX2" fmla="*/ 575232 w 708582"/>
              <a:gd name="connsiteY2" fmla="*/ 271437 h 277787"/>
              <a:gd name="connsiteX3" fmla="*/ 0 w 708582"/>
              <a:gd name="connsiteY3" fmla="*/ 277787 h 277787"/>
              <a:gd name="connsiteX4" fmla="*/ 0 w 708582"/>
              <a:gd name="connsiteY4" fmla="*/ 0 h 277787"/>
              <a:gd name="connsiteX0" fmla="*/ 228600 w 708582"/>
              <a:gd name="connsiteY0" fmla="*/ 6350 h 246037"/>
              <a:gd name="connsiteX1" fmla="*/ 708582 w 708582"/>
              <a:gd name="connsiteY1" fmla="*/ 0 h 246037"/>
              <a:gd name="connsiteX2" fmla="*/ 575232 w 708582"/>
              <a:gd name="connsiteY2" fmla="*/ 239687 h 246037"/>
              <a:gd name="connsiteX3" fmla="*/ 0 w 708582"/>
              <a:gd name="connsiteY3" fmla="*/ 246037 h 246037"/>
              <a:gd name="connsiteX4" fmla="*/ 228600 w 708582"/>
              <a:gd name="connsiteY4" fmla="*/ 6350 h 246037"/>
              <a:gd name="connsiteX0" fmla="*/ 228600 w 778432"/>
              <a:gd name="connsiteY0" fmla="*/ 0 h 239687"/>
              <a:gd name="connsiteX1" fmla="*/ 778432 w 778432"/>
              <a:gd name="connsiteY1" fmla="*/ 25400 h 239687"/>
              <a:gd name="connsiteX2" fmla="*/ 575232 w 778432"/>
              <a:gd name="connsiteY2" fmla="*/ 233337 h 239687"/>
              <a:gd name="connsiteX3" fmla="*/ 0 w 778432"/>
              <a:gd name="connsiteY3" fmla="*/ 239687 h 239687"/>
              <a:gd name="connsiteX4" fmla="*/ 228600 w 778432"/>
              <a:gd name="connsiteY4" fmla="*/ 0 h 239687"/>
              <a:gd name="connsiteX0" fmla="*/ 228600 w 778432"/>
              <a:gd name="connsiteY0" fmla="*/ 0 h 214287"/>
              <a:gd name="connsiteX1" fmla="*/ 778432 w 778432"/>
              <a:gd name="connsiteY1" fmla="*/ 0 h 214287"/>
              <a:gd name="connsiteX2" fmla="*/ 575232 w 778432"/>
              <a:gd name="connsiteY2" fmla="*/ 207937 h 214287"/>
              <a:gd name="connsiteX3" fmla="*/ 0 w 778432"/>
              <a:gd name="connsiteY3" fmla="*/ 214287 h 214287"/>
              <a:gd name="connsiteX4" fmla="*/ 228600 w 778432"/>
              <a:gd name="connsiteY4" fmla="*/ 0 h 214287"/>
              <a:gd name="connsiteX0" fmla="*/ 228600 w 730724"/>
              <a:gd name="connsiteY0" fmla="*/ 3975 h 218262"/>
              <a:gd name="connsiteX1" fmla="*/ 730724 w 730724"/>
              <a:gd name="connsiteY1" fmla="*/ 0 h 218262"/>
              <a:gd name="connsiteX2" fmla="*/ 575232 w 730724"/>
              <a:gd name="connsiteY2" fmla="*/ 211912 h 218262"/>
              <a:gd name="connsiteX3" fmla="*/ 0 w 730724"/>
              <a:gd name="connsiteY3" fmla="*/ 218262 h 218262"/>
              <a:gd name="connsiteX4" fmla="*/ 228600 w 730724"/>
              <a:gd name="connsiteY4" fmla="*/ 3975 h 218262"/>
              <a:gd name="connsiteX0" fmla="*/ 252454 w 754578"/>
              <a:gd name="connsiteY0" fmla="*/ 3975 h 211912"/>
              <a:gd name="connsiteX1" fmla="*/ 754578 w 754578"/>
              <a:gd name="connsiteY1" fmla="*/ 0 h 211912"/>
              <a:gd name="connsiteX2" fmla="*/ 599086 w 754578"/>
              <a:gd name="connsiteY2" fmla="*/ 211912 h 211912"/>
              <a:gd name="connsiteX3" fmla="*/ 0 w 754578"/>
              <a:gd name="connsiteY3" fmla="*/ 210311 h 211912"/>
              <a:gd name="connsiteX4" fmla="*/ 252454 w 754578"/>
              <a:gd name="connsiteY4" fmla="*/ 3975 h 211912"/>
              <a:gd name="connsiteX0" fmla="*/ 172941 w 754578"/>
              <a:gd name="connsiteY0" fmla="*/ 0 h 219864"/>
              <a:gd name="connsiteX1" fmla="*/ 754578 w 754578"/>
              <a:gd name="connsiteY1" fmla="*/ 7952 h 219864"/>
              <a:gd name="connsiteX2" fmla="*/ 599086 w 754578"/>
              <a:gd name="connsiteY2" fmla="*/ 219864 h 219864"/>
              <a:gd name="connsiteX3" fmla="*/ 0 w 754578"/>
              <a:gd name="connsiteY3" fmla="*/ 218263 h 219864"/>
              <a:gd name="connsiteX4" fmla="*/ 172941 w 754578"/>
              <a:gd name="connsiteY4" fmla="*/ 0 h 219864"/>
              <a:gd name="connsiteX0" fmla="*/ 172941 w 754578"/>
              <a:gd name="connsiteY0" fmla="*/ 0 h 223840"/>
              <a:gd name="connsiteX1" fmla="*/ 754578 w 754578"/>
              <a:gd name="connsiteY1" fmla="*/ 7952 h 223840"/>
              <a:gd name="connsiteX2" fmla="*/ 654745 w 754578"/>
              <a:gd name="connsiteY2" fmla="*/ 223840 h 223840"/>
              <a:gd name="connsiteX3" fmla="*/ 0 w 754578"/>
              <a:gd name="connsiteY3" fmla="*/ 218263 h 223840"/>
              <a:gd name="connsiteX4" fmla="*/ 172941 w 754578"/>
              <a:gd name="connsiteY4" fmla="*/ 0 h 223840"/>
              <a:gd name="connsiteX0" fmla="*/ 172941 w 754578"/>
              <a:gd name="connsiteY0" fmla="*/ 0 h 219864"/>
              <a:gd name="connsiteX1" fmla="*/ 754578 w 754578"/>
              <a:gd name="connsiteY1" fmla="*/ 7952 h 219864"/>
              <a:gd name="connsiteX2" fmla="*/ 646793 w 754578"/>
              <a:gd name="connsiteY2" fmla="*/ 219864 h 219864"/>
              <a:gd name="connsiteX3" fmla="*/ 0 w 754578"/>
              <a:gd name="connsiteY3" fmla="*/ 218263 h 219864"/>
              <a:gd name="connsiteX4" fmla="*/ 172941 w 754578"/>
              <a:gd name="connsiteY4" fmla="*/ 0 h 219864"/>
              <a:gd name="connsiteX0" fmla="*/ 172941 w 818189"/>
              <a:gd name="connsiteY0" fmla="*/ 0 h 219864"/>
              <a:gd name="connsiteX1" fmla="*/ 818189 w 818189"/>
              <a:gd name="connsiteY1" fmla="*/ 31806 h 219864"/>
              <a:gd name="connsiteX2" fmla="*/ 646793 w 818189"/>
              <a:gd name="connsiteY2" fmla="*/ 219864 h 219864"/>
              <a:gd name="connsiteX3" fmla="*/ 0 w 818189"/>
              <a:gd name="connsiteY3" fmla="*/ 218263 h 219864"/>
              <a:gd name="connsiteX4" fmla="*/ 172941 w 818189"/>
              <a:gd name="connsiteY4" fmla="*/ 0 h 219864"/>
              <a:gd name="connsiteX0" fmla="*/ 172941 w 806262"/>
              <a:gd name="connsiteY0" fmla="*/ 0 h 219864"/>
              <a:gd name="connsiteX1" fmla="*/ 806262 w 806262"/>
              <a:gd name="connsiteY1" fmla="*/ 11928 h 219864"/>
              <a:gd name="connsiteX2" fmla="*/ 646793 w 806262"/>
              <a:gd name="connsiteY2" fmla="*/ 219864 h 219864"/>
              <a:gd name="connsiteX3" fmla="*/ 0 w 806262"/>
              <a:gd name="connsiteY3" fmla="*/ 218263 h 219864"/>
              <a:gd name="connsiteX4" fmla="*/ 172941 w 806262"/>
              <a:gd name="connsiteY4" fmla="*/ 0 h 219864"/>
              <a:gd name="connsiteX0" fmla="*/ 172941 w 798310"/>
              <a:gd name="connsiteY0" fmla="*/ 0 h 219864"/>
              <a:gd name="connsiteX1" fmla="*/ 798310 w 798310"/>
              <a:gd name="connsiteY1" fmla="*/ 15903 h 219864"/>
              <a:gd name="connsiteX2" fmla="*/ 646793 w 798310"/>
              <a:gd name="connsiteY2" fmla="*/ 219864 h 219864"/>
              <a:gd name="connsiteX3" fmla="*/ 0 w 798310"/>
              <a:gd name="connsiteY3" fmla="*/ 218263 h 219864"/>
              <a:gd name="connsiteX4" fmla="*/ 172941 w 798310"/>
              <a:gd name="connsiteY4" fmla="*/ 0 h 219864"/>
              <a:gd name="connsiteX0" fmla="*/ 172941 w 798310"/>
              <a:gd name="connsiteY0" fmla="*/ 0 h 259620"/>
              <a:gd name="connsiteX1" fmla="*/ 798310 w 798310"/>
              <a:gd name="connsiteY1" fmla="*/ 15903 h 259620"/>
              <a:gd name="connsiteX2" fmla="*/ 614988 w 798310"/>
              <a:gd name="connsiteY2" fmla="*/ 259620 h 259620"/>
              <a:gd name="connsiteX3" fmla="*/ 0 w 798310"/>
              <a:gd name="connsiteY3" fmla="*/ 218263 h 259620"/>
              <a:gd name="connsiteX4" fmla="*/ 172941 w 798310"/>
              <a:gd name="connsiteY4" fmla="*/ 0 h 259620"/>
              <a:gd name="connsiteX0" fmla="*/ 188843 w 814212"/>
              <a:gd name="connsiteY0" fmla="*/ 0 h 259620"/>
              <a:gd name="connsiteX1" fmla="*/ 814212 w 814212"/>
              <a:gd name="connsiteY1" fmla="*/ 15903 h 259620"/>
              <a:gd name="connsiteX2" fmla="*/ 630890 w 814212"/>
              <a:gd name="connsiteY2" fmla="*/ 259620 h 259620"/>
              <a:gd name="connsiteX3" fmla="*/ 0 w 814212"/>
              <a:gd name="connsiteY3" fmla="*/ 254043 h 259620"/>
              <a:gd name="connsiteX4" fmla="*/ 188843 w 814212"/>
              <a:gd name="connsiteY4" fmla="*/ 0 h 259620"/>
              <a:gd name="connsiteX0" fmla="*/ 208721 w 834090"/>
              <a:gd name="connsiteY0" fmla="*/ 0 h 259620"/>
              <a:gd name="connsiteX1" fmla="*/ 834090 w 834090"/>
              <a:gd name="connsiteY1" fmla="*/ 15903 h 259620"/>
              <a:gd name="connsiteX2" fmla="*/ 650768 w 834090"/>
              <a:gd name="connsiteY2" fmla="*/ 259620 h 259620"/>
              <a:gd name="connsiteX3" fmla="*/ 0 w 834090"/>
              <a:gd name="connsiteY3" fmla="*/ 254043 h 259620"/>
              <a:gd name="connsiteX4" fmla="*/ 208721 w 834090"/>
              <a:gd name="connsiteY4" fmla="*/ 0 h 259620"/>
              <a:gd name="connsiteX0" fmla="*/ 268356 w 893725"/>
              <a:gd name="connsiteY0" fmla="*/ 0 h 259620"/>
              <a:gd name="connsiteX1" fmla="*/ 893725 w 893725"/>
              <a:gd name="connsiteY1" fmla="*/ 15903 h 259620"/>
              <a:gd name="connsiteX2" fmla="*/ 710403 w 893725"/>
              <a:gd name="connsiteY2" fmla="*/ 259620 h 259620"/>
              <a:gd name="connsiteX3" fmla="*/ 0 w 893725"/>
              <a:gd name="connsiteY3" fmla="*/ 254043 h 259620"/>
              <a:gd name="connsiteX4" fmla="*/ 268356 w 893725"/>
              <a:gd name="connsiteY4" fmla="*/ 0 h 259620"/>
              <a:gd name="connsiteX0" fmla="*/ 260405 w 885774"/>
              <a:gd name="connsiteY0" fmla="*/ 0 h 259620"/>
              <a:gd name="connsiteX1" fmla="*/ 885774 w 885774"/>
              <a:gd name="connsiteY1" fmla="*/ 15903 h 259620"/>
              <a:gd name="connsiteX2" fmla="*/ 702452 w 885774"/>
              <a:gd name="connsiteY2" fmla="*/ 259620 h 259620"/>
              <a:gd name="connsiteX3" fmla="*/ 0 w 885774"/>
              <a:gd name="connsiteY3" fmla="*/ 254043 h 259620"/>
              <a:gd name="connsiteX4" fmla="*/ 260405 w 885774"/>
              <a:gd name="connsiteY4" fmla="*/ 0 h 259620"/>
              <a:gd name="connsiteX0" fmla="*/ 220648 w 885774"/>
              <a:gd name="connsiteY0" fmla="*/ 0 h 243717"/>
              <a:gd name="connsiteX1" fmla="*/ 885774 w 885774"/>
              <a:gd name="connsiteY1" fmla="*/ 0 h 243717"/>
              <a:gd name="connsiteX2" fmla="*/ 702452 w 885774"/>
              <a:gd name="connsiteY2" fmla="*/ 243717 h 243717"/>
              <a:gd name="connsiteX3" fmla="*/ 0 w 885774"/>
              <a:gd name="connsiteY3" fmla="*/ 238140 h 243717"/>
              <a:gd name="connsiteX4" fmla="*/ 220648 w 885774"/>
              <a:gd name="connsiteY4" fmla="*/ 0 h 243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774" h="243717">
                <a:moveTo>
                  <a:pt x="220648" y="0"/>
                </a:moveTo>
                <a:lnTo>
                  <a:pt x="885774" y="0"/>
                </a:lnTo>
                <a:lnTo>
                  <a:pt x="702452" y="243717"/>
                </a:lnTo>
                <a:lnTo>
                  <a:pt x="0" y="238140"/>
                </a:lnTo>
                <a:lnTo>
                  <a:pt x="220648" y="0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 w="25400" cap="flat" cmpd="sng" algn="ctr">
            <a:noFill/>
            <a:prstDash val="solid"/>
          </a:ln>
          <a:effectLst>
            <a:softEdge rad="31750"/>
          </a:effectLst>
        </p:spPr>
        <p:txBody>
          <a:bodyPr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7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45" name="Groep 144"/>
          <p:cNvGrpSpPr/>
          <p:nvPr userDrawn="1"/>
        </p:nvGrpSpPr>
        <p:grpSpPr>
          <a:xfrm>
            <a:off x="12466553" y="4098808"/>
            <a:ext cx="511506" cy="560304"/>
            <a:chOff x="10604612" y="969715"/>
            <a:chExt cx="1290638" cy="1427162"/>
          </a:xfrm>
        </p:grpSpPr>
        <p:grpSp>
          <p:nvGrpSpPr>
            <p:cNvPr id="146" name="Group 879"/>
            <p:cNvGrpSpPr>
              <a:grpSpLocks noChangeAspect="1"/>
            </p:cNvGrpSpPr>
            <p:nvPr userDrawn="1"/>
          </p:nvGrpSpPr>
          <p:grpSpPr bwMode="auto">
            <a:xfrm>
              <a:off x="10604612" y="969715"/>
              <a:ext cx="1290638" cy="1427162"/>
              <a:chOff x="4798" y="1515"/>
              <a:chExt cx="813" cy="899"/>
            </a:xfrm>
          </p:grpSpPr>
          <p:sp>
            <p:nvSpPr>
              <p:cNvPr id="148" name="Freeform 886"/>
              <p:cNvSpPr>
                <a:spLocks/>
              </p:cNvSpPr>
              <p:nvPr userDrawn="1"/>
            </p:nvSpPr>
            <p:spPr bwMode="auto">
              <a:xfrm>
                <a:off x="5269" y="1515"/>
                <a:ext cx="71" cy="898"/>
              </a:xfrm>
              <a:custGeom>
                <a:avLst/>
                <a:gdLst>
                  <a:gd name="T0" fmla="*/ 282 w 282"/>
                  <a:gd name="T1" fmla="*/ 0 h 3595"/>
                  <a:gd name="T2" fmla="*/ 282 w 282"/>
                  <a:gd name="T3" fmla="*/ 3138 h 3595"/>
                  <a:gd name="T4" fmla="*/ 0 w 282"/>
                  <a:gd name="T5" fmla="*/ 3595 h 3595"/>
                  <a:gd name="T6" fmla="*/ 0 w 282"/>
                  <a:gd name="T7" fmla="*/ 285 h 3595"/>
                  <a:gd name="T8" fmla="*/ 282 w 282"/>
                  <a:gd name="T9" fmla="*/ 0 h 3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2" h="3595">
                    <a:moveTo>
                      <a:pt x="282" y="0"/>
                    </a:moveTo>
                    <a:lnTo>
                      <a:pt x="282" y="3138"/>
                    </a:lnTo>
                    <a:lnTo>
                      <a:pt x="0" y="3595"/>
                    </a:lnTo>
                    <a:lnTo>
                      <a:pt x="0" y="285"/>
                    </a:lnTo>
                    <a:lnTo>
                      <a:pt x="282" y="0"/>
                    </a:lnTo>
                    <a:close/>
                  </a:path>
                </a:pathLst>
              </a:custGeom>
              <a:solidFill>
                <a:srgbClr val="FFC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49" name="Rectangle 880"/>
              <p:cNvSpPr>
                <a:spLocks noChangeArrowheads="1"/>
              </p:cNvSpPr>
              <p:nvPr userDrawn="1"/>
            </p:nvSpPr>
            <p:spPr bwMode="auto">
              <a:xfrm>
                <a:off x="4798" y="1515"/>
                <a:ext cx="813" cy="899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0" name="Rectangle 881"/>
              <p:cNvSpPr>
                <a:spLocks noChangeArrowheads="1"/>
              </p:cNvSpPr>
              <p:nvPr userDrawn="1"/>
            </p:nvSpPr>
            <p:spPr bwMode="auto">
              <a:xfrm>
                <a:off x="4798" y="1857"/>
                <a:ext cx="228" cy="557"/>
              </a:xfrm>
              <a:prstGeom prst="rect">
                <a:avLst/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1929FF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1" name="Freeform 882"/>
              <p:cNvSpPr>
                <a:spLocks/>
              </p:cNvSpPr>
              <p:nvPr userDrawn="1"/>
            </p:nvSpPr>
            <p:spPr bwMode="auto">
              <a:xfrm>
                <a:off x="4798" y="1771"/>
                <a:ext cx="314" cy="86"/>
              </a:xfrm>
              <a:custGeom>
                <a:avLst/>
                <a:gdLst>
                  <a:gd name="T0" fmla="*/ 411 w 1255"/>
                  <a:gd name="T1" fmla="*/ 0 h 342"/>
                  <a:gd name="T2" fmla="*/ 1255 w 1255"/>
                  <a:gd name="T3" fmla="*/ 0 h 342"/>
                  <a:gd name="T4" fmla="*/ 913 w 1255"/>
                  <a:gd name="T5" fmla="*/ 342 h 342"/>
                  <a:gd name="T6" fmla="*/ 0 w 1255"/>
                  <a:gd name="T7" fmla="*/ 342 h 342"/>
                  <a:gd name="T8" fmla="*/ 411 w 1255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5" h="342">
                    <a:moveTo>
                      <a:pt x="411" y="0"/>
                    </a:moveTo>
                    <a:lnTo>
                      <a:pt x="1255" y="0"/>
                    </a:lnTo>
                    <a:lnTo>
                      <a:pt x="913" y="342"/>
                    </a:lnTo>
                    <a:lnTo>
                      <a:pt x="0" y="342"/>
                    </a:lnTo>
                    <a:lnTo>
                      <a:pt x="411" y="0"/>
                    </a:lnTo>
                    <a:close/>
                  </a:path>
                </a:pathLst>
              </a:custGeom>
              <a:solidFill>
                <a:srgbClr val="0039A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2" name="Freeform 883"/>
              <p:cNvSpPr>
                <a:spLocks/>
              </p:cNvSpPr>
              <p:nvPr userDrawn="1"/>
            </p:nvSpPr>
            <p:spPr bwMode="auto">
              <a:xfrm>
                <a:off x="5026" y="1771"/>
                <a:ext cx="85" cy="642"/>
              </a:xfrm>
              <a:custGeom>
                <a:avLst/>
                <a:gdLst>
                  <a:gd name="T0" fmla="*/ 342 w 342"/>
                  <a:gd name="T1" fmla="*/ 0 h 2568"/>
                  <a:gd name="T2" fmla="*/ 342 w 342"/>
                  <a:gd name="T3" fmla="*/ 2111 h 2568"/>
                  <a:gd name="T4" fmla="*/ 0 w 342"/>
                  <a:gd name="T5" fmla="*/ 2568 h 2568"/>
                  <a:gd name="T6" fmla="*/ 0 w 342"/>
                  <a:gd name="T7" fmla="*/ 342 h 2568"/>
                  <a:gd name="T8" fmla="*/ 342 w 342"/>
                  <a:gd name="T9" fmla="*/ 0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2" h="2568">
                    <a:moveTo>
                      <a:pt x="342" y="0"/>
                    </a:moveTo>
                    <a:lnTo>
                      <a:pt x="342" y="2111"/>
                    </a:lnTo>
                    <a:lnTo>
                      <a:pt x="0" y="2568"/>
                    </a:lnTo>
                    <a:lnTo>
                      <a:pt x="0" y="34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00007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3" name="Freeform 884"/>
              <p:cNvSpPr>
                <a:spLocks/>
              </p:cNvSpPr>
              <p:nvPr userDrawn="1"/>
            </p:nvSpPr>
            <p:spPr bwMode="auto">
              <a:xfrm>
                <a:off x="5054" y="1515"/>
                <a:ext cx="286" cy="72"/>
              </a:xfrm>
              <a:custGeom>
                <a:avLst/>
                <a:gdLst>
                  <a:gd name="T0" fmla="*/ 318 w 1140"/>
                  <a:gd name="T1" fmla="*/ 0 h 289"/>
                  <a:gd name="T2" fmla="*/ 1140 w 1140"/>
                  <a:gd name="T3" fmla="*/ 0 h 289"/>
                  <a:gd name="T4" fmla="*/ 855 w 1140"/>
                  <a:gd name="T5" fmla="*/ 289 h 289"/>
                  <a:gd name="T6" fmla="*/ 0 w 1140"/>
                  <a:gd name="T7" fmla="*/ 289 h 289"/>
                  <a:gd name="T8" fmla="*/ 318 w 1140"/>
                  <a:gd name="T9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0" h="289">
                    <a:moveTo>
                      <a:pt x="318" y="0"/>
                    </a:moveTo>
                    <a:lnTo>
                      <a:pt x="1140" y="0"/>
                    </a:lnTo>
                    <a:lnTo>
                      <a:pt x="855" y="289"/>
                    </a:lnTo>
                    <a:lnTo>
                      <a:pt x="0" y="289"/>
                    </a:lnTo>
                    <a:lnTo>
                      <a:pt x="318" y="0"/>
                    </a:lnTo>
                    <a:close/>
                  </a:path>
                </a:pathLst>
              </a:custGeom>
              <a:solidFill>
                <a:srgbClr val="EEFF2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4" name="Rectangle 885"/>
              <p:cNvSpPr>
                <a:spLocks noChangeArrowheads="1"/>
              </p:cNvSpPr>
              <p:nvPr userDrawn="1"/>
            </p:nvSpPr>
            <p:spPr bwMode="auto">
              <a:xfrm>
                <a:off x="5054" y="1587"/>
                <a:ext cx="215" cy="827"/>
              </a:xfrm>
              <a:prstGeom prst="rect">
                <a:avLst/>
              </a:prstGeom>
              <a:gradFill flip="none" rotWithShape="1">
                <a:gsLst>
                  <a:gs pos="0">
                    <a:srgbClr val="FFC000"/>
                  </a:gs>
                  <a:gs pos="100000">
                    <a:srgbClr val="FFFF00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5" name="Rectangle 887"/>
              <p:cNvSpPr>
                <a:spLocks noChangeArrowheads="1"/>
              </p:cNvSpPr>
              <p:nvPr userDrawn="1"/>
            </p:nvSpPr>
            <p:spPr bwMode="auto">
              <a:xfrm>
                <a:off x="5298" y="1771"/>
                <a:ext cx="228" cy="643"/>
              </a:xfrm>
              <a:prstGeom prst="rect">
                <a:avLst/>
              </a:prstGeom>
              <a:gradFill flip="none" rotWithShape="1">
                <a:gsLst>
                  <a:gs pos="0">
                    <a:srgbClr val="B80004"/>
                  </a:gs>
                  <a:gs pos="100000">
                    <a:srgbClr val="FF0000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56" name="Freeform 888"/>
              <p:cNvSpPr>
                <a:spLocks/>
              </p:cNvSpPr>
              <p:nvPr userDrawn="1"/>
            </p:nvSpPr>
            <p:spPr bwMode="auto">
              <a:xfrm>
                <a:off x="5526" y="1686"/>
                <a:ext cx="85" cy="727"/>
              </a:xfrm>
              <a:custGeom>
                <a:avLst/>
                <a:gdLst>
                  <a:gd name="T0" fmla="*/ 342 w 342"/>
                  <a:gd name="T1" fmla="*/ 0 h 2911"/>
                  <a:gd name="T2" fmla="*/ 342 w 342"/>
                  <a:gd name="T3" fmla="*/ 2477 h 2911"/>
                  <a:gd name="T4" fmla="*/ 0 w 342"/>
                  <a:gd name="T5" fmla="*/ 2911 h 2911"/>
                  <a:gd name="T6" fmla="*/ 0 w 342"/>
                  <a:gd name="T7" fmla="*/ 334 h 2911"/>
                  <a:gd name="T8" fmla="*/ 342 w 342"/>
                  <a:gd name="T9" fmla="*/ 0 h 2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2" h="2911">
                    <a:moveTo>
                      <a:pt x="342" y="0"/>
                    </a:moveTo>
                    <a:lnTo>
                      <a:pt x="342" y="2477"/>
                    </a:lnTo>
                    <a:lnTo>
                      <a:pt x="0" y="2911"/>
                    </a:lnTo>
                    <a:lnTo>
                      <a:pt x="0" y="334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C2001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47" name="Vrije vorm 146"/>
            <p:cNvSpPr/>
            <p:nvPr userDrawn="1"/>
          </p:nvSpPr>
          <p:spPr>
            <a:xfrm>
              <a:off x="11389225" y="1241176"/>
              <a:ext cx="506025" cy="137883"/>
            </a:xfrm>
            <a:custGeom>
              <a:avLst/>
              <a:gdLst>
                <a:gd name="connsiteX0" fmla="*/ 0 w 508407"/>
                <a:gd name="connsiteY0" fmla="*/ 142646 h 146304"/>
                <a:gd name="connsiteX1" fmla="*/ 369418 w 508407"/>
                <a:gd name="connsiteY1" fmla="*/ 146304 h 146304"/>
                <a:gd name="connsiteX2" fmla="*/ 508407 w 508407"/>
                <a:gd name="connsiteY2" fmla="*/ 0 h 146304"/>
                <a:gd name="connsiteX3" fmla="*/ 168250 w 508407"/>
                <a:gd name="connsiteY3" fmla="*/ 0 h 146304"/>
                <a:gd name="connsiteX4" fmla="*/ 0 w 508407"/>
                <a:gd name="connsiteY4" fmla="*/ 142646 h 146304"/>
                <a:gd name="connsiteX0" fmla="*/ 0 w 508407"/>
                <a:gd name="connsiteY0" fmla="*/ 142646 h 142646"/>
                <a:gd name="connsiteX1" fmla="*/ 376562 w 508407"/>
                <a:gd name="connsiteY1" fmla="*/ 136779 h 142646"/>
                <a:gd name="connsiteX2" fmla="*/ 508407 w 508407"/>
                <a:gd name="connsiteY2" fmla="*/ 0 h 142646"/>
                <a:gd name="connsiteX3" fmla="*/ 168250 w 508407"/>
                <a:gd name="connsiteY3" fmla="*/ 0 h 142646"/>
                <a:gd name="connsiteX4" fmla="*/ 0 w 508407"/>
                <a:gd name="connsiteY4" fmla="*/ 142646 h 142646"/>
                <a:gd name="connsiteX0" fmla="*/ 0 w 506025"/>
                <a:gd name="connsiteY0" fmla="*/ 137883 h 137883"/>
                <a:gd name="connsiteX1" fmla="*/ 374180 w 506025"/>
                <a:gd name="connsiteY1" fmla="*/ 136779 h 137883"/>
                <a:gd name="connsiteX2" fmla="*/ 506025 w 506025"/>
                <a:gd name="connsiteY2" fmla="*/ 0 h 137883"/>
                <a:gd name="connsiteX3" fmla="*/ 165868 w 506025"/>
                <a:gd name="connsiteY3" fmla="*/ 0 h 137883"/>
                <a:gd name="connsiteX4" fmla="*/ 0 w 506025"/>
                <a:gd name="connsiteY4" fmla="*/ 137883 h 13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025" h="137883">
                  <a:moveTo>
                    <a:pt x="0" y="137883"/>
                  </a:moveTo>
                  <a:lnTo>
                    <a:pt x="374180" y="136779"/>
                  </a:lnTo>
                  <a:lnTo>
                    <a:pt x="506025" y="0"/>
                  </a:lnTo>
                  <a:lnTo>
                    <a:pt x="165868" y="0"/>
                  </a:lnTo>
                  <a:lnTo>
                    <a:pt x="0" y="137883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pic>
        <p:nvPicPr>
          <p:cNvPr id="157" name="Picture 2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2" b="49570"/>
          <a:stretch/>
        </p:blipFill>
        <p:spPr bwMode="auto">
          <a:xfrm>
            <a:off x="12391075" y="1261111"/>
            <a:ext cx="2326767" cy="633299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8" name="Tekstvak 33"/>
          <p:cNvSpPr txBox="1"/>
          <p:nvPr userDrawn="1"/>
        </p:nvSpPr>
        <p:spPr>
          <a:xfrm>
            <a:off x="12395835" y="473118"/>
            <a:ext cx="2322347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Selecteer de grafiek met de rechtermuisknop en kies </a:t>
            </a:r>
            <a:r>
              <a:rPr lang="nl-NL" sz="1599" b="1" kern="0" dirty="0">
                <a:solidFill>
                  <a:schemeClr val="tx2"/>
                </a:solidFill>
                <a:latin typeface="Calibri"/>
              </a:rPr>
              <a:t>‘Gegevens bewerken’</a:t>
            </a:r>
          </a:p>
        </p:txBody>
      </p:sp>
      <p:pic>
        <p:nvPicPr>
          <p:cNvPr id="159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3670" y="1746862"/>
            <a:ext cx="178343" cy="288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1" name="Tijdelijke aanduiding voor verticale tekst 2">
            <a:extLst>
              <a:ext uri="{FF2B5EF4-FFF2-40B4-BE49-F238E27FC236}">
                <a16:creationId xmlns:a16="http://schemas.microsoft.com/office/drawing/2014/main" id="{FC8892EF-4A82-42D4-92C1-3028F6716A7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27600"/>
            <a:ext cx="6254928" cy="478800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</p:spTree>
    <p:extLst>
      <p:ext uri="{BB962C8B-B14F-4D97-AF65-F5344CB8AC3E}">
        <p14:creationId xmlns:p14="http://schemas.microsoft.com/office/powerpoint/2010/main" val="199515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286">
          <p15:clr>
            <a:srgbClr val="FBAE40"/>
          </p15:clr>
        </p15:guide>
        <p15:guide id="5" pos="1366">
          <p15:clr>
            <a:srgbClr val="FBAE40"/>
          </p15:clr>
        </p15:guide>
        <p15:guide id="6" pos="2292">
          <p15:clr>
            <a:srgbClr val="FBAE40"/>
          </p15:clr>
        </p15:guide>
        <p15:guide id="7" pos="2372">
          <p15:clr>
            <a:srgbClr val="FBAE40"/>
          </p15:clr>
        </p15:guide>
        <p15:guide id="8" pos="3298">
          <p15:clr>
            <a:srgbClr val="FBAE40"/>
          </p15:clr>
        </p15:guide>
        <p15:guide id="9" pos="3378">
          <p15:clr>
            <a:srgbClr val="FBAE40"/>
          </p15:clr>
        </p15:guide>
        <p15:guide id="10" pos="4305">
          <p15:clr>
            <a:srgbClr val="FBAE40"/>
          </p15:clr>
        </p15:guide>
        <p15:guide id="11" pos="4385">
          <p15:clr>
            <a:srgbClr val="FBAE40"/>
          </p15:clr>
        </p15:guide>
        <p15:guide id="12" pos="5311">
          <p15:clr>
            <a:srgbClr val="FBAE40"/>
          </p15:clr>
        </p15:guide>
        <p15:guide id="13" pos="5391">
          <p15:clr>
            <a:srgbClr val="FBAE40"/>
          </p15:clr>
        </p15:guide>
        <p15:guide id="14" pos="6317">
          <p15:clr>
            <a:srgbClr val="FBAE40"/>
          </p15:clr>
        </p15:guide>
        <p15:guide id="15" pos="6397">
          <p15:clr>
            <a:srgbClr val="FBAE40"/>
          </p15:clr>
        </p15:guide>
        <p15:guide id="16" pos="7324">
          <p15:clr>
            <a:srgbClr val="FBAE40"/>
          </p15:clr>
        </p15:guide>
        <p15:guide id="17" orient="horz">
          <p15:clr>
            <a:srgbClr val="FBAE40"/>
          </p15:clr>
        </p15:guide>
        <p15:guide id="18" orient="horz" pos="4320">
          <p15:clr>
            <a:srgbClr val="FBAE40"/>
          </p15:clr>
        </p15:guide>
        <p15:guide id="19" orient="horz" pos="768">
          <p15:clr>
            <a:srgbClr val="FBAE40"/>
          </p15:clr>
        </p15:guide>
        <p15:guide id="20" orient="horz" pos="1466">
          <p15:clr>
            <a:srgbClr val="FBAE40"/>
          </p15:clr>
        </p15:guide>
        <p15:guide id="21" orient="horz" pos="1546">
          <p15:clr>
            <a:srgbClr val="FBAE40"/>
          </p15:clr>
        </p15:guide>
        <p15:guide id="22" orient="horz" pos="2244">
          <p15:clr>
            <a:srgbClr val="FBAE40"/>
          </p15:clr>
        </p15:guide>
        <p15:guide id="23" orient="horz" pos="2324">
          <p15:clr>
            <a:srgbClr val="FBAE40"/>
          </p15:clr>
        </p15:guide>
        <p15:guide id="24" orient="horz" pos="3022">
          <p15:clr>
            <a:srgbClr val="FBAE40"/>
          </p15:clr>
        </p15:guide>
        <p15:guide id="25" orient="horz" pos="3102">
          <p15:clr>
            <a:srgbClr val="FBAE40"/>
          </p15:clr>
        </p15:guide>
        <p15:guide id="26" orient="horz" pos="380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Grafiek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F3595-9EA8-4DF1-B1E1-3D4C7C67B3EB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2" name="Rechthoek 71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kst &amp; Grafiek (25%/75%)</a:t>
            </a:r>
          </a:p>
        </p:txBody>
      </p:sp>
      <p:sp>
        <p:nvSpPr>
          <p:cNvPr id="153" name="Rechthoek 152"/>
          <p:cNvSpPr/>
          <p:nvPr userDrawn="1"/>
        </p:nvSpPr>
        <p:spPr>
          <a:xfrm>
            <a:off x="12260350" y="-2600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GRAFIEK AANPASSEN</a:t>
            </a:r>
          </a:p>
        </p:txBody>
      </p:sp>
      <p:cxnSp>
        <p:nvCxnSpPr>
          <p:cNvPr id="154" name="Rechte verbindingslijn 153"/>
          <p:cNvCxnSpPr/>
          <p:nvPr userDrawn="1"/>
        </p:nvCxnSpPr>
        <p:spPr>
          <a:xfrm>
            <a:off x="12403954" y="358984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155" name="Tekstvak 33"/>
          <p:cNvSpPr txBox="1"/>
          <p:nvPr userDrawn="1"/>
        </p:nvSpPr>
        <p:spPr>
          <a:xfrm>
            <a:off x="12434069" y="2945800"/>
            <a:ext cx="2066859" cy="98488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Verwijder de bestaande grafiek. Klik op het icoontje om een nieuwe</a:t>
            </a:r>
          </a:p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grafiek in te voegen.</a:t>
            </a:r>
          </a:p>
        </p:txBody>
      </p:sp>
      <p:sp>
        <p:nvSpPr>
          <p:cNvPr id="156" name="Tekstvak 33"/>
          <p:cNvSpPr txBox="1"/>
          <p:nvPr userDrawn="1"/>
        </p:nvSpPr>
        <p:spPr>
          <a:xfrm>
            <a:off x="12434069" y="5546288"/>
            <a:ext cx="214133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Zoek en selecteer de gewenste afbeelding. </a:t>
            </a:r>
            <a:br>
              <a:rPr lang="nl-NL" sz="1599" kern="0">
                <a:solidFill>
                  <a:srgbClr val="000000"/>
                </a:solidFill>
                <a:latin typeface="Calibri"/>
              </a:rPr>
            </a:br>
            <a:r>
              <a:rPr lang="nl-NL" sz="1599" kern="0">
                <a:solidFill>
                  <a:srgbClr val="000000"/>
                </a:solidFill>
                <a:latin typeface="Calibri"/>
              </a:rPr>
              <a:t>Klik op </a:t>
            </a:r>
            <a:r>
              <a:rPr lang="nl-NL" sz="1599" b="1" kern="0">
                <a:solidFill>
                  <a:schemeClr val="tx2"/>
                </a:solidFill>
                <a:latin typeface="Calibri"/>
              </a:rPr>
              <a:t>´Invoegen´</a:t>
            </a:r>
            <a:endParaRPr lang="nl-NL" sz="1599" b="1" kern="0" dirty="0">
              <a:solidFill>
                <a:schemeClr val="tx2"/>
              </a:solidFill>
              <a:latin typeface="Calibri"/>
            </a:endParaRPr>
          </a:p>
        </p:txBody>
      </p:sp>
      <p:sp>
        <p:nvSpPr>
          <p:cNvPr id="157" name="Ovaal 156"/>
          <p:cNvSpPr/>
          <p:nvPr userDrawn="1"/>
        </p:nvSpPr>
        <p:spPr>
          <a:xfrm>
            <a:off x="12391075" y="2449523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1</a:t>
            </a:r>
          </a:p>
        </p:txBody>
      </p:sp>
      <p:sp>
        <p:nvSpPr>
          <p:cNvPr id="158" name="Ovaal 157"/>
          <p:cNvSpPr/>
          <p:nvPr userDrawn="1"/>
        </p:nvSpPr>
        <p:spPr>
          <a:xfrm>
            <a:off x="12391075" y="5013176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2</a:t>
            </a:r>
          </a:p>
        </p:txBody>
      </p:sp>
      <p:pic>
        <p:nvPicPr>
          <p:cNvPr id="159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13535" r="3470" b="13927"/>
          <a:stretch/>
        </p:blipFill>
        <p:spPr bwMode="auto">
          <a:xfrm>
            <a:off x="12431520" y="6398601"/>
            <a:ext cx="1107180" cy="297656"/>
          </a:xfrm>
          <a:prstGeom prst="roundRect">
            <a:avLst>
              <a:gd name="adj" fmla="val 14496"/>
            </a:avLst>
          </a:prstGeom>
          <a:noFill/>
          <a:ln w="6350">
            <a:solidFill>
              <a:srgbClr val="E2AC00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0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4" t="23401" r="80712" b="21471"/>
          <a:stretch/>
        </p:blipFill>
        <p:spPr bwMode="auto">
          <a:xfrm>
            <a:off x="12500941" y="6439083"/>
            <a:ext cx="791676" cy="226219"/>
          </a:xfrm>
          <a:prstGeom prst="roundRect">
            <a:avLst>
              <a:gd name="adj" fmla="val 14496"/>
            </a:avLst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1" name="Tekstvak 160"/>
          <p:cNvSpPr txBox="1"/>
          <p:nvPr userDrawn="1"/>
        </p:nvSpPr>
        <p:spPr>
          <a:xfrm>
            <a:off x="12513559" y="6425480"/>
            <a:ext cx="77905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nl-NL" sz="1099" b="1" kern="0"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latin typeface="Calibri"/>
              </a:rPr>
              <a:t>OK</a:t>
            </a:r>
            <a:endParaRPr lang="nl-NL" sz="1099" b="1" kern="0" dirty="0">
              <a:solidFill>
                <a:srgbClr val="005634">
                  <a:lumMod val="25000"/>
                </a:srgbClr>
              </a:solidFill>
              <a:effectLst>
                <a:outerShdw blurRad="25400" algn="ctr" rotWithShape="0">
                  <a:prstClr val="white"/>
                </a:outerShdw>
              </a:effectLst>
              <a:latin typeface="Calibri"/>
            </a:endParaRPr>
          </a:p>
        </p:txBody>
      </p:sp>
      <p:sp>
        <p:nvSpPr>
          <p:cNvPr id="162" name="Rechthoek 161"/>
          <p:cNvSpPr/>
          <p:nvPr userDrawn="1"/>
        </p:nvSpPr>
        <p:spPr>
          <a:xfrm>
            <a:off x="12260350" y="191683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GRAFIEK INVOEGEN</a:t>
            </a:r>
          </a:p>
        </p:txBody>
      </p:sp>
      <p:cxnSp>
        <p:nvCxnSpPr>
          <p:cNvPr id="163" name="Rechte verbindingslijn 162"/>
          <p:cNvCxnSpPr/>
          <p:nvPr userDrawn="1"/>
        </p:nvCxnSpPr>
        <p:spPr>
          <a:xfrm>
            <a:off x="12403954" y="230320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164" name="Rechte verbindingslijn 163"/>
          <p:cNvCxnSpPr/>
          <p:nvPr userDrawn="1"/>
        </p:nvCxnSpPr>
        <p:spPr>
          <a:xfrm>
            <a:off x="12403615" y="486916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165" name="Rechte verbindingslijn 164"/>
          <p:cNvCxnSpPr/>
          <p:nvPr userDrawn="1"/>
        </p:nvCxnSpPr>
        <p:spPr>
          <a:xfrm>
            <a:off x="12403954" y="6840668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sp>
        <p:nvSpPr>
          <p:cNvPr id="166" name="Rechthoek 962"/>
          <p:cNvSpPr/>
          <p:nvPr userDrawn="1"/>
        </p:nvSpPr>
        <p:spPr>
          <a:xfrm>
            <a:off x="12344800" y="4510254"/>
            <a:ext cx="755014" cy="205789"/>
          </a:xfrm>
          <a:custGeom>
            <a:avLst/>
            <a:gdLst>
              <a:gd name="connsiteX0" fmla="*/ 0 w 664132"/>
              <a:gd name="connsiteY0" fmla="*/ 0 h 277787"/>
              <a:gd name="connsiteX1" fmla="*/ 664132 w 664132"/>
              <a:gd name="connsiteY1" fmla="*/ 0 h 277787"/>
              <a:gd name="connsiteX2" fmla="*/ 664132 w 664132"/>
              <a:gd name="connsiteY2" fmla="*/ 277787 h 277787"/>
              <a:gd name="connsiteX3" fmla="*/ 0 w 664132"/>
              <a:gd name="connsiteY3" fmla="*/ 277787 h 277787"/>
              <a:gd name="connsiteX4" fmla="*/ 0 w 664132"/>
              <a:gd name="connsiteY4" fmla="*/ 0 h 277787"/>
              <a:gd name="connsiteX0" fmla="*/ 0 w 664132"/>
              <a:gd name="connsiteY0" fmla="*/ 0 h 290487"/>
              <a:gd name="connsiteX1" fmla="*/ 664132 w 664132"/>
              <a:gd name="connsiteY1" fmla="*/ 0 h 290487"/>
              <a:gd name="connsiteX2" fmla="*/ 333932 w 664132"/>
              <a:gd name="connsiteY2" fmla="*/ 290487 h 290487"/>
              <a:gd name="connsiteX3" fmla="*/ 0 w 664132"/>
              <a:gd name="connsiteY3" fmla="*/ 277787 h 290487"/>
              <a:gd name="connsiteX4" fmla="*/ 0 w 664132"/>
              <a:gd name="connsiteY4" fmla="*/ 0 h 290487"/>
              <a:gd name="connsiteX0" fmla="*/ 0 w 664132"/>
              <a:gd name="connsiteY0" fmla="*/ 0 h 277787"/>
              <a:gd name="connsiteX1" fmla="*/ 664132 w 664132"/>
              <a:gd name="connsiteY1" fmla="*/ 0 h 277787"/>
              <a:gd name="connsiteX2" fmla="*/ 575232 w 664132"/>
              <a:gd name="connsiteY2" fmla="*/ 271437 h 277787"/>
              <a:gd name="connsiteX3" fmla="*/ 0 w 664132"/>
              <a:gd name="connsiteY3" fmla="*/ 277787 h 277787"/>
              <a:gd name="connsiteX4" fmla="*/ 0 w 664132"/>
              <a:gd name="connsiteY4" fmla="*/ 0 h 277787"/>
              <a:gd name="connsiteX0" fmla="*/ 0 w 708582"/>
              <a:gd name="connsiteY0" fmla="*/ 0 h 277787"/>
              <a:gd name="connsiteX1" fmla="*/ 708582 w 708582"/>
              <a:gd name="connsiteY1" fmla="*/ 31750 h 277787"/>
              <a:gd name="connsiteX2" fmla="*/ 575232 w 708582"/>
              <a:gd name="connsiteY2" fmla="*/ 271437 h 277787"/>
              <a:gd name="connsiteX3" fmla="*/ 0 w 708582"/>
              <a:gd name="connsiteY3" fmla="*/ 277787 h 277787"/>
              <a:gd name="connsiteX4" fmla="*/ 0 w 708582"/>
              <a:gd name="connsiteY4" fmla="*/ 0 h 277787"/>
              <a:gd name="connsiteX0" fmla="*/ 228600 w 708582"/>
              <a:gd name="connsiteY0" fmla="*/ 6350 h 246037"/>
              <a:gd name="connsiteX1" fmla="*/ 708582 w 708582"/>
              <a:gd name="connsiteY1" fmla="*/ 0 h 246037"/>
              <a:gd name="connsiteX2" fmla="*/ 575232 w 708582"/>
              <a:gd name="connsiteY2" fmla="*/ 239687 h 246037"/>
              <a:gd name="connsiteX3" fmla="*/ 0 w 708582"/>
              <a:gd name="connsiteY3" fmla="*/ 246037 h 246037"/>
              <a:gd name="connsiteX4" fmla="*/ 228600 w 708582"/>
              <a:gd name="connsiteY4" fmla="*/ 6350 h 246037"/>
              <a:gd name="connsiteX0" fmla="*/ 228600 w 778432"/>
              <a:gd name="connsiteY0" fmla="*/ 0 h 239687"/>
              <a:gd name="connsiteX1" fmla="*/ 778432 w 778432"/>
              <a:gd name="connsiteY1" fmla="*/ 25400 h 239687"/>
              <a:gd name="connsiteX2" fmla="*/ 575232 w 778432"/>
              <a:gd name="connsiteY2" fmla="*/ 233337 h 239687"/>
              <a:gd name="connsiteX3" fmla="*/ 0 w 778432"/>
              <a:gd name="connsiteY3" fmla="*/ 239687 h 239687"/>
              <a:gd name="connsiteX4" fmla="*/ 228600 w 778432"/>
              <a:gd name="connsiteY4" fmla="*/ 0 h 239687"/>
              <a:gd name="connsiteX0" fmla="*/ 228600 w 778432"/>
              <a:gd name="connsiteY0" fmla="*/ 0 h 214287"/>
              <a:gd name="connsiteX1" fmla="*/ 778432 w 778432"/>
              <a:gd name="connsiteY1" fmla="*/ 0 h 214287"/>
              <a:gd name="connsiteX2" fmla="*/ 575232 w 778432"/>
              <a:gd name="connsiteY2" fmla="*/ 207937 h 214287"/>
              <a:gd name="connsiteX3" fmla="*/ 0 w 778432"/>
              <a:gd name="connsiteY3" fmla="*/ 214287 h 214287"/>
              <a:gd name="connsiteX4" fmla="*/ 228600 w 778432"/>
              <a:gd name="connsiteY4" fmla="*/ 0 h 214287"/>
              <a:gd name="connsiteX0" fmla="*/ 228600 w 730724"/>
              <a:gd name="connsiteY0" fmla="*/ 3975 h 218262"/>
              <a:gd name="connsiteX1" fmla="*/ 730724 w 730724"/>
              <a:gd name="connsiteY1" fmla="*/ 0 h 218262"/>
              <a:gd name="connsiteX2" fmla="*/ 575232 w 730724"/>
              <a:gd name="connsiteY2" fmla="*/ 211912 h 218262"/>
              <a:gd name="connsiteX3" fmla="*/ 0 w 730724"/>
              <a:gd name="connsiteY3" fmla="*/ 218262 h 218262"/>
              <a:gd name="connsiteX4" fmla="*/ 228600 w 730724"/>
              <a:gd name="connsiteY4" fmla="*/ 3975 h 218262"/>
              <a:gd name="connsiteX0" fmla="*/ 252454 w 754578"/>
              <a:gd name="connsiteY0" fmla="*/ 3975 h 211912"/>
              <a:gd name="connsiteX1" fmla="*/ 754578 w 754578"/>
              <a:gd name="connsiteY1" fmla="*/ 0 h 211912"/>
              <a:gd name="connsiteX2" fmla="*/ 599086 w 754578"/>
              <a:gd name="connsiteY2" fmla="*/ 211912 h 211912"/>
              <a:gd name="connsiteX3" fmla="*/ 0 w 754578"/>
              <a:gd name="connsiteY3" fmla="*/ 210311 h 211912"/>
              <a:gd name="connsiteX4" fmla="*/ 252454 w 754578"/>
              <a:gd name="connsiteY4" fmla="*/ 3975 h 211912"/>
              <a:gd name="connsiteX0" fmla="*/ 172941 w 754578"/>
              <a:gd name="connsiteY0" fmla="*/ 0 h 219864"/>
              <a:gd name="connsiteX1" fmla="*/ 754578 w 754578"/>
              <a:gd name="connsiteY1" fmla="*/ 7952 h 219864"/>
              <a:gd name="connsiteX2" fmla="*/ 599086 w 754578"/>
              <a:gd name="connsiteY2" fmla="*/ 219864 h 219864"/>
              <a:gd name="connsiteX3" fmla="*/ 0 w 754578"/>
              <a:gd name="connsiteY3" fmla="*/ 218263 h 219864"/>
              <a:gd name="connsiteX4" fmla="*/ 172941 w 754578"/>
              <a:gd name="connsiteY4" fmla="*/ 0 h 219864"/>
              <a:gd name="connsiteX0" fmla="*/ 172941 w 754578"/>
              <a:gd name="connsiteY0" fmla="*/ 0 h 223840"/>
              <a:gd name="connsiteX1" fmla="*/ 754578 w 754578"/>
              <a:gd name="connsiteY1" fmla="*/ 7952 h 223840"/>
              <a:gd name="connsiteX2" fmla="*/ 654745 w 754578"/>
              <a:gd name="connsiteY2" fmla="*/ 223840 h 223840"/>
              <a:gd name="connsiteX3" fmla="*/ 0 w 754578"/>
              <a:gd name="connsiteY3" fmla="*/ 218263 h 223840"/>
              <a:gd name="connsiteX4" fmla="*/ 172941 w 754578"/>
              <a:gd name="connsiteY4" fmla="*/ 0 h 223840"/>
              <a:gd name="connsiteX0" fmla="*/ 172941 w 754578"/>
              <a:gd name="connsiteY0" fmla="*/ 0 h 219864"/>
              <a:gd name="connsiteX1" fmla="*/ 754578 w 754578"/>
              <a:gd name="connsiteY1" fmla="*/ 7952 h 219864"/>
              <a:gd name="connsiteX2" fmla="*/ 646793 w 754578"/>
              <a:gd name="connsiteY2" fmla="*/ 219864 h 219864"/>
              <a:gd name="connsiteX3" fmla="*/ 0 w 754578"/>
              <a:gd name="connsiteY3" fmla="*/ 218263 h 219864"/>
              <a:gd name="connsiteX4" fmla="*/ 172941 w 754578"/>
              <a:gd name="connsiteY4" fmla="*/ 0 h 219864"/>
              <a:gd name="connsiteX0" fmla="*/ 172941 w 818189"/>
              <a:gd name="connsiteY0" fmla="*/ 0 h 219864"/>
              <a:gd name="connsiteX1" fmla="*/ 818189 w 818189"/>
              <a:gd name="connsiteY1" fmla="*/ 31806 h 219864"/>
              <a:gd name="connsiteX2" fmla="*/ 646793 w 818189"/>
              <a:gd name="connsiteY2" fmla="*/ 219864 h 219864"/>
              <a:gd name="connsiteX3" fmla="*/ 0 w 818189"/>
              <a:gd name="connsiteY3" fmla="*/ 218263 h 219864"/>
              <a:gd name="connsiteX4" fmla="*/ 172941 w 818189"/>
              <a:gd name="connsiteY4" fmla="*/ 0 h 219864"/>
              <a:gd name="connsiteX0" fmla="*/ 172941 w 806262"/>
              <a:gd name="connsiteY0" fmla="*/ 0 h 219864"/>
              <a:gd name="connsiteX1" fmla="*/ 806262 w 806262"/>
              <a:gd name="connsiteY1" fmla="*/ 11928 h 219864"/>
              <a:gd name="connsiteX2" fmla="*/ 646793 w 806262"/>
              <a:gd name="connsiteY2" fmla="*/ 219864 h 219864"/>
              <a:gd name="connsiteX3" fmla="*/ 0 w 806262"/>
              <a:gd name="connsiteY3" fmla="*/ 218263 h 219864"/>
              <a:gd name="connsiteX4" fmla="*/ 172941 w 806262"/>
              <a:gd name="connsiteY4" fmla="*/ 0 h 219864"/>
              <a:gd name="connsiteX0" fmla="*/ 172941 w 798310"/>
              <a:gd name="connsiteY0" fmla="*/ 0 h 219864"/>
              <a:gd name="connsiteX1" fmla="*/ 798310 w 798310"/>
              <a:gd name="connsiteY1" fmla="*/ 15903 h 219864"/>
              <a:gd name="connsiteX2" fmla="*/ 646793 w 798310"/>
              <a:gd name="connsiteY2" fmla="*/ 219864 h 219864"/>
              <a:gd name="connsiteX3" fmla="*/ 0 w 798310"/>
              <a:gd name="connsiteY3" fmla="*/ 218263 h 219864"/>
              <a:gd name="connsiteX4" fmla="*/ 172941 w 798310"/>
              <a:gd name="connsiteY4" fmla="*/ 0 h 219864"/>
              <a:gd name="connsiteX0" fmla="*/ 172941 w 798310"/>
              <a:gd name="connsiteY0" fmla="*/ 0 h 259620"/>
              <a:gd name="connsiteX1" fmla="*/ 798310 w 798310"/>
              <a:gd name="connsiteY1" fmla="*/ 15903 h 259620"/>
              <a:gd name="connsiteX2" fmla="*/ 614988 w 798310"/>
              <a:gd name="connsiteY2" fmla="*/ 259620 h 259620"/>
              <a:gd name="connsiteX3" fmla="*/ 0 w 798310"/>
              <a:gd name="connsiteY3" fmla="*/ 218263 h 259620"/>
              <a:gd name="connsiteX4" fmla="*/ 172941 w 798310"/>
              <a:gd name="connsiteY4" fmla="*/ 0 h 259620"/>
              <a:gd name="connsiteX0" fmla="*/ 188843 w 814212"/>
              <a:gd name="connsiteY0" fmla="*/ 0 h 259620"/>
              <a:gd name="connsiteX1" fmla="*/ 814212 w 814212"/>
              <a:gd name="connsiteY1" fmla="*/ 15903 h 259620"/>
              <a:gd name="connsiteX2" fmla="*/ 630890 w 814212"/>
              <a:gd name="connsiteY2" fmla="*/ 259620 h 259620"/>
              <a:gd name="connsiteX3" fmla="*/ 0 w 814212"/>
              <a:gd name="connsiteY3" fmla="*/ 254043 h 259620"/>
              <a:gd name="connsiteX4" fmla="*/ 188843 w 814212"/>
              <a:gd name="connsiteY4" fmla="*/ 0 h 259620"/>
              <a:gd name="connsiteX0" fmla="*/ 208721 w 834090"/>
              <a:gd name="connsiteY0" fmla="*/ 0 h 259620"/>
              <a:gd name="connsiteX1" fmla="*/ 834090 w 834090"/>
              <a:gd name="connsiteY1" fmla="*/ 15903 h 259620"/>
              <a:gd name="connsiteX2" fmla="*/ 650768 w 834090"/>
              <a:gd name="connsiteY2" fmla="*/ 259620 h 259620"/>
              <a:gd name="connsiteX3" fmla="*/ 0 w 834090"/>
              <a:gd name="connsiteY3" fmla="*/ 254043 h 259620"/>
              <a:gd name="connsiteX4" fmla="*/ 208721 w 834090"/>
              <a:gd name="connsiteY4" fmla="*/ 0 h 259620"/>
              <a:gd name="connsiteX0" fmla="*/ 268356 w 893725"/>
              <a:gd name="connsiteY0" fmla="*/ 0 h 259620"/>
              <a:gd name="connsiteX1" fmla="*/ 893725 w 893725"/>
              <a:gd name="connsiteY1" fmla="*/ 15903 h 259620"/>
              <a:gd name="connsiteX2" fmla="*/ 710403 w 893725"/>
              <a:gd name="connsiteY2" fmla="*/ 259620 h 259620"/>
              <a:gd name="connsiteX3" fmla="*/ 0 w 893725"/>
              <a:gd name="connsiteY3" fmla="*/ 254043 h 259620"/>
              <a:gd name="connsiteX4" fmla="*/ 268356 w 893725"/>
              <a:gd name="connsiteY4" fmla="*/ 0 h 259620"/>
              <a:gd name="connsiteX0" fmla="*/ 260405 w 885774"/>
              <a:gd name="connsiteY0" fmla="*/ 0 h 259620"/>
              <a:gd name="connsiteX1" fmla="*/ 885774 w 885774"/>
              <a:gd name="connsiteY1" fmla="*/ 15903 h 259620"/>
              <a:gd name="connsiteX2" fmla="*/ 702452 w 885774"/>
              <a:gd name="connsiteY2" fmla="*/ 259620 h 259620"/>
              <a:gd name="connsiteX3" fmla="*/ 0 w 885774"/>
              <a:gd name="connsiteY3" fmla="*/ 254043 h 259620"/>
              <a:gd name="connsiteX4" fmla="*/ 260405 w 885774"/>
              <a:gd name="connsiteY4" fmla="*/ 0 h 259620"/>
              <a:gd name="connsiteX0" fmla="*/ 220648 w 885774"/>
              <a:gd name="connsiteY0" fmla="*/ 0 h 243717"/>
              <a:gd name="connsiteX1" fmla="*/ 885774 w 885774"/>
              <a:gd name="connsiteY1" fmla="*/ 0 h 243717"/>
              <a:gd name="connsiteX2" fmla="*/ 702452 w 885774"/>
              <a:gd name="connsiteY2" fmla="*/ 243717 h 243717"/>
              <a:gd name="connsiteX3" fmla="*/ 0 w 885774"/>
              <a:gd name="connsiteY3" fmla="*/ 238140 h 243717"/>
              <a:gd name="connsiteX4" fmla="*/ 220648 w 885774"/>
              <a:gd name="connsiteY4" fmla="*/ 0 h 243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5774" h="243717">
                <a:moveTo>
                  <a:pt x="220648" y="0"/>
                </a:moveTo>
                <a:lnTo>
                  <a:pt x="885774" y="0"/>
                </a:lnTo>
                <a:lnTo>
                  <a:pt x="702452" y="243717"/>
                </a:lnTo>
                <a:lnTo>
                  <a:pt x="0" y="238140"/>
                </a:lnTo>
                <a:lnTo>
                  <a:pt x="220648" y="0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 w="25400" cap="flat" cmpd="sng" algn="ctr">
            <a:noFill/>
            <a:prstDash val="solid"/>
          </a:ln>
          <a:effectLst>
            <a:softEdge rad="31750"/>
          </a:effectLst>
        </p:spPr>
        <p:txBody>
          <a:bodyPr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799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67" name="Groep 166"/>
          <p:cNvGrpSpPr/>
          <p:nvPr userDrawn="1"/>
        </p:nvGrpSpPr>
        <p:grpSpPr>
          <a:xfrm>
            <a:off x="12466553" y="4098808"/>
            <a:ext cx="511506" cy="560304"/>
            <a:chOff x="10604612" y="969715"/>
            <a:chExt cx="1290638" cy="1427162"/>
          </a:xfrm>
        </p:grpSpPr>
        <p:grpSp>
          <p:nvGrpSpPr>
            <p:cNvPr id="168" name="Group 879"/>
            <p:cNvGrpSpPr>
              <a:grpSpLocks noChangeAspect="1"/>
            </p:cNvGrpSpPr>
            <p:nvPr userDrawn="1"/>
          </p:nvGrpSpPr>
          <p:grpSpPr bwMode="auto">
            <a:xfrm>
              <a:off x="10604612" y="969715"/>
              <a:ext cx="1290638" cy="1427162"/>
              <a:chOff x="4798" y="1515"/>
              <a:chExt cx="813" cy="899"/>
            </a:xfrm>
          </p:grpSpPr>
          <p:sp>
            <p:nvSpPr>
              <p:cNvPr id="170" name="Freeform 886"/>
              <p:cNvSpPr>
                <a:spLocks/>
              </p:cNvSpPr>
              <p:nvPr userDrawn="1"/>
            </p:nvSpPr>
            <p:spPr bwMode="auto">
              <a:xfrm>
                <a:off x="5269" y="1515"/>
                <a:ext cx="71" cy="898"/>
              </a:xfrm>
              <a:custGeom>
                <a:avLst/>
                <a:gdLst>
                  <a:gd name="T0" fmla="*/ 282 w 282"/>
                  <a:gd name="T1" fmla="*/ 0 h 3595"/>
                  <a:gd name="T2" fmla="*/ 282 w 282"/>
                  <a:gd name="T3" fmla="*/ 3138 h 3595"/>
                  <a:gd name="T4" fmla="*/ 0 w 282"/>
                  <a:gd name="T5" fmla="*/ 3595 h 3595"/>
                  <a:gd name="T6" fmla="*/ 0 w 282"/>
                  <a:gd name="T7" fmla="*/ 285 h 3595"/>
                  <a:gd name="T8" fmla="*/ 282 w 282"/>
                  <a:gd name="T9" fmla="*/ 0 h 3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2" h="3595">
                    <a:moveTo>
                      <a:pt x="282" y="0"/>
                    </a:moveTo>
                    <a:lnTo>
                      <a:pt x="282" y="3138"/>
                    </a:lnTo>
                    <a:lnTo>
                      <a:pt x="0" y="3595"/>
                    </a:lnTo>
                    <a:lnTo>
                      <a:pt x="0" y="285"/>
                    </a:lnTo>
                    <a:lnTo>
                      <a:pt x="282" y="0"/>
                    </a:lnTo>
                    <a:close/>
                  </a:path>
                </a:pathLst>
              </a:custGeom>
              <a:solidFill>
                <a:srgbClr val="FFC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1" name="Rectangle 880"/>
              <p:cNvSpPr>
                <a:spLocks noChangeArrowheads="1"/>
              </p:cNvSpPr>
              <p:nvPr userDrawn="1"/>
            </p:nvSpPr>
            <p:spPr bwMode="auto">
              <a:xfrm>
                <a:off x="4798" y="1515"/>
                <a:ext cx="813" cy="899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2" name="Rectangle 881"/>
              <p:cNvSpPr>
                <a:spLocks noChangeArrowheads="1"/>
              </p:cNvSpPr>
              <p:nvPr userDrawn="1"/>
            </p:nvSpPr>
            <p:spPr bwMode="auto">
              <a:xfrm>
                <a:off x="4798" y="1857"/>
                <a:ext cx="228" cy="557"/>
              </a:xfrm>
              <a:prstGeom prst="rect">
                <a:avLst/>
              </a:prstGeom>
              <a:gradFill flip="none" rotWithShape="1">
                <a:gsLst>
                  <a:gs pos="0">
                    <a:srgbClr val="002060"/>
                  </a:gs>
                  <a:gs pos="100000">
                    <a:srgbClr val="1929FF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3" name="Freeform 882"/>
              <p:cNvSpPr>
                <a:spLocks/>
              </p:cNvSpPr>
              <p:nvPr userDrawn="1"/>
            </p:nvSpPr>
            <p:spPr bwMode="auto">
              <a:xfrm>
                <a:off x="4798" y="1771"/>
                <a:ext cx="314" cy="86"/>
              </a:xfrm>
              <a:custGeom>
                <a:avLst/>
                <a:gdLst>
                  <a:gd name="T0" fmla="*/ 411 w 1255"/>
                  <a:gd name="T1" fmla="*/ 0 h 342"/>
                  <a:gd name="T2" fmla="*/ 1255 w 1255"/>
                  <a:gd name="T3" fmla="*/ 0 h 342"/>
                  <a:gd name="T4" fmla="*/ 913 w 1255"/>
                  <a:gd name="T5" fmla="*/ 342 h 342"/>
                  <a:gd name="T6" fmla="*/ 0 w 1255"/>
                  <a:gd name="T7" fmla="*/ 342 h 342"/>
                  <a:gd name="T8" fmla="*/ 411 w 1255"/>
                  <a:gd name="T9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5" h="342">
                    <a:moveTo>
                      <a:pt x="411" y="0"/>
                    </a:moveTo>
                    <a:lnTo>
                      <a:pt x="1255" y="0"/>
                    </a:lnTo>
                    <a:lnTo>
                      <a:pt x="913" y="342"/>
                    </a:lnTo>
                    <a:lnTo>
                      <a:pt x="0" y="342"/>
                    </a:lnTo>
                    <a:lnTo>
                      <a:pt x="411" y="0"/>
                    </a:lnTo>
                    <a:close/>
                  </a:path>
                </a:pathLst>
              </a:custGeom>
              <a:solidFill>
                <a:srgbClr val="0039A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4" name="Freeform 883"/>
              <p:cNvSpPr>
                <a:spLocks/>
              </p:cNvSpPr>
              <p:nvPr userDrawn="1"/>
            </p:nvSpPr>
            <p:spPr bwMode="auto">
              <a:xfrm>
                <a:off x="5026" y="1771"/>
                <a:ext cx="85" cy="642"/>
              </a:xfrm>
              <a:custGeom>
                <a:avLst/>
                <a:gdLst>
                  <a:gd name="T0" fmla="*/ 342 w 342"/>
                  <a:gd name="T1" fmla="*/ 0 h 2568"/>
                  <a:gd name="T2" fmla="*/ 342 w 342"/>
                  <a:gd name="T3" fmla="*/ 2111 h 2568"/>
                  <a:gd name="T4" fmla="*/ 0 w 342"/>
                  <a:gd name="T5" fmla="*/ 2568 h 2568"/>
                  <a:gd name="T6" fmla="*/ 0 w 342"/>
                  <a:gd name="T7" fmla="*/ 342 h 2568"/>
                  <a:gd name="T8" fmla="*/ 342 w 342"/>
                  <a:gd name="T9" fmla="*/ 0 h 25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2" h="2568">
                    <a:moveTo>
                      <a:pt x="342" y="0"/>
                    </a:moveTo>
                    <a:lnTo>
                      <a:pt x="342" y="2111"/>
                    </a:lnTo>
                    <a:lnTo>
                      <a:pt x="0" y="2568"/>
                    </a:lnTo>
                    <a:lnTo>
                      <a:pt x="0" y="342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00007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5" name="Freeform 884"/>
              <p:cNvSpPr>
                <a:spLocks/>
              </p:cNvSpPr>
              <p:nvPr userDrawn="1"/>
            </p:nvSpPr>
            <p:spPr bwMode="auto">
              <a:xfrm>
                <a:off x="5054" y="1515"/>
                <a:ext cx="286" cy="72"/>
              </a:xfrm>
              <a:custGeom>
                <a:avLst/>
                <a:gdLst>
                  <a:gd name="T0" fmla="*/ 318 w 1140"/>
                  <a:gd name="T1" fmla="*/ 0 h 289"/>
                  <a:gd name="T2" fmla="*/ 1140 w 1140"/>
                  <a:gd name="T3" fmla="*/ 0 h 289"/>
                  <a:gd name="T4" fmla="*/ 855 w 1140"/>
                  <a:gd name="T5" fmla="*/ 289 h 289"/>
                  <a:gd name="T6" fmla="*/ 0 w 1140"/>
                  <a:gd name="T7" fmla="*/ 289 h 289"/>
                  <a:gd name="T8" fmla="*/ 318 w 1140"/>
                  <a:gd name="T9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0" h="289">
                    <a:moveTo>
                      <a:pt x="318" y="0"/>
                    </a:moveTo>
                    <a:lnTo>
                      <a:pt x="1140" y="0"/>
                    </a:lnTo>
                    <a:lnTo>
                      <a:pt x="855" y="289"/>
                    </a:lnTo>
                    <a:lnTo>
                      <a:pt x="0" y="289"/>
                    </a:lnTo>
                    <a:lnTo>
                      <a:pt x="318" y="0"/>
                    </a:lnTo>
                    <a:close/>
                  </a:path>
                </a:pathLst>
              </a:custGeom>
              <a:solidFill>
                <a:srgbClr val="EEFF2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6" name="Rectangle 885"/>
              <p:cNvSpPr>
                <a:spLocks noChangeArrowheads="1"/>
              </p:cNvSpPr>
              <p:nvPr userDrawn="1"/>
            </p:nvSpPr>
            <p:spPr bwMode="auto">
              <a:xfrm>
                <a:off x="5054" y="1587"/>
                <a:ext cx="215" cy="827"/>
              </a:xfrm>
              <a:prstGeom prst="rect">
                <a:avLst/>
              </a:prstGeom>
              <a:gradFill flip="none" rotWithShape="1">
                <a:gsLst>
                  <a:gs pos="0">
                    <a:srgbClr val="FFC000"/>
                  </a:gs>
                  <a:gs pos="100000">
                    <a:srgbClr val="FFFF00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7" name="Rectangle 887"/>
              <p:cNvSpPr>
                <a:spLocks noChangeArrowheads="1"/>
              </p:cNvSpPr>
              <p:nvPr userDrawn="1"/>
            </p:nvSpPr>
            <p:spPr bwMode="auto">
              <a:xfrm>
                <a:off x="5298" y="1771"/>
                <a:ext cx="228" cy="643"/>
              </a:xfrm>
              <a:prstGeom prst="rect">
                <a:avLst/>
              </a:prstGeom>
              <a:gradFill flip="none" rotWithShape="1">
                <a:gsLst>
                  <a:gs pos="0">
                    <a:srgbClr val="B80004"/>
                  </a:gs>
                  <a:gs pos="100000">
                    <a:srgbClr val="FF0000"/>
                  </a:gs>
                </a:gsLst>
                <a:lin ang="16200000" scaled="1"/>
                <a:tileRect/>
              </a:gra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178" name="Freeform 888"/>
              <p:cNvSpPr>
                <a:spLocks/>
              </p:cNvSpPr>
              <p:nvPr userDrawn="1"/>
            </p:nvSpPr>
            <p:spPr bwMode="auto">
              <a:xfrm>
                <a:off x="5526" y="1686"/>
                <a:ext cx="85" cy="727"/>
              </a:xfrm>
              <a:custGeom>
                <a:avLst/>
                <a:gdLst>
                  <a:gd name="T0" fmla="*/ 342 w 342"/>
                  <a:gd name="T1" fmla="*/ 0 h 2911"/>
                  <a:gd name="T2" fmla="*/ 342 w 342"/>
                  <a:gd name="T3" fmla="*/ 2477 h 2911"/>
                  <a:gd name="T4" fmla="*/ 0 w 342"/>
                  <a:gd name="T5" fmla="*/ 2911 h 2911"/>
                  <a:gd name="T6" fmla="*/ 0 w 342"/>
                  <a:gd name="T7" fmla="*/ 334 h 2911"/>
                  <a:gd name="T8" fmla="*/ 342 w 342"/>
                  <a:gd name="T9" fmla="*/ 0 h 2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2" h="2911">
                    <a:moveTo>
                      <a:pt x="342" y="0"/>
                    </a:moveTo>
                    <a:lnTo>
                      <a:pt x="342" y="2477"/>
                    </a:lnTo>
                    <a:lnTo>
                      <a:pt x="0" y="2911"/>
                    </a:lnTo>
                    <a:lnTo>
                      <a:pt x="0" y="334"/>
                    </a:lnTo>
                    <a:lnTo>
                      <a:pt x="342" y="0"/>
                    </a:lnTo>
                    <a:close/>
                  </a:path>
                </a:pathLst>
              </a:custGeom>
              <a:solidFill>
                <a:srgbClr val="C2001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69" name="Vrije vorm 168"/>
            <p:cNvSpPr/>
            <p:nvPr userDrawn="1"/>
          </p:nvSpPr>
          <p:spPr>
            <a:xfrm>
              <a:off x="11389225" y="1241176"/>
              <a:ext cx="506025" cy="137883"/>
            </a:xfrm>
            <a:custGeom>
              <a:avLst/>
              <a:gdLst>
                <a:gd name="connsiteX0" fmla="*/ 0 w 508407"/>
                <a:gd name="connsiteY0" fmla="*/ 142646 h 146304"/>
                <a:gd name="connsiteX1" fmla="*/ 369418 w 508407"/>
                <a:gd name="connsiteY1" fmla="*/ 146304 h 146304"/>
                <a:gd name="connsiteX2" fmla="*/ 508407 w 508407"/>
                <a:gd name="connsiteY2" fmla="*/ 0 h 146304"/>
                <a:gd name="connsiteX3" fmla="*/ 168250 w 508407"/>
                <a:gd name="connsiteY3" fmla="*/ 0 h 146304"/>
                <a:gd name="connsiteX4" fmla="*/ 0 w 508407"/>
                <a:gd name="connsiteY4" fmla="*/ 142646 h 146304"/>
                <a:gd name="connsiteX0" fmla="*/ 0 w 508407"/>
                <a:gd name="connsiteY0" fmla="*/ 142646 h 142646"/>
                <a:gd name="connsiteX1" fmla="*/ 376562 w 508407"/>
                <a:gd name="connsiteY1" fmla="*/ 136779 h 142646"/>
                <a:gd name="connsiteX2" fmla="*/ 508407 w 508407"/>
                <a:gd name="connsiteY2" fmla="*/ 0 h 142646"/>
                <a:gd name="connsiteX3" fmla="*/ 168250 w 508407"/>
                <a:gd name="connsiteY3" fmla="*/ 0 h 142646"/>
                <a:gd name="connsiteX4" fmla="*/ 0 w 508407"/>
                <a:gd name="connsiteY4" fmla="*/ 142646 h 142646"/>
                <a:gd name="connsiteX0" fmla="*/ 0 w 506025"/>
                <a:gd name="connsiteY0" fmla="*/ 137883 h 137883"/>
                <a:gd name="connsiteX1" fmla="*/ 374180 w 506025"/>
                <a:gd name="connsiteY1" fmla="*/ 136779 h 137883"/>
                <a:gd name="connsiteX2" fmla="*/ 506025 w 506025"/>
                <a:gd name="connsiteY2" fmla="*/ 0 h 137883"/>
                <a:gd name="connsiteX3" fmla="*/ 165868 w 506025"/>
                <a:gd name="connsiteY3" fmla="*/ 0 h 137883"/>
                <a:gd name="connsiteX4" fmla="*/ 0 w 506025"/>
                <a:gd name="connsiteY4" fmla="*/ 137883 h 13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6025" h="137883">
                  <a:moveTo>
                    <a:pt x="0" y="137883"/>
                  </a:moveTo>
                  <a:lnTo>
                    <a:pt x="374180" y="136779"/>
                  </a:lnTo>
                  <a:lnTo>
                    <a:pt x="506025" y="0"/>
                  </a:lnTo>
                  <a:lnTo>
                    <a:pt x="165868" y="0"/>
                  </a:lnTo>
                  <a:lnTo>
                    <a:pt x="0" y="137883"/>
                  </a:lnTo>
                  <a:close/>
                </a:path>
              </a:pathLst>
            </a:cu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pic>
        <p:nvPicPr>
          <p:cNvPr id="179" name="Picture 2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2" b="49570"/>
          <a:stretch/>
        </p:blipFill>
        <p:spPr bwMode="auto">
          <a:xfrm>
            <a:off x="12391075" y="1261111"/>
            <a:ext cx="2326767" cy="633299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0" name="Tekstvak 33"/>
          <p:cNvSpPr txBox="1"/>
          <p:nvPr userDrawn="1"/>
        </p:nvSpPr>
        <p:spPr>
          <a:xfrm>
            <a:off x="12395835" y="473118"/>
            <a:ext cx="2322347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Selecteer de grafiek met de rechtermuisknop en kies </a:t>
            </a:r>
            <a:r>
              <a:rPr lang="nl-NL" sz="1599" b="1" kern="0" dirty="0">
                <a:solidFill>
                  <a:schemeClr val="tx2"/>
                </a:solidFill>
                <a:latin typeface="Calibri"/>
              </a:rPr>
              <a:t>‘Gegevens bewerken’</a:t>
            </a:r>
          </a:p>
        </p:txBody>
      </p:sp>
      <p:pic>
        <p:nvPicPr>
          <p:cNvPr id="18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3670" y="1746862"/>
            <a:ext cx="178343" cy="288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jdelijke aanduiding voor grafiek 7"/>
          <p:cNvSpPr>
            <a:spLocks noGrp="1"/>
          </p:cNvSpPr>
          <p:nvPr>
            <p:ph type="chart" sz="quarter" idx="16"/>
          </p:nvPr>
        </p:nvSpPr>
        <p:spPr>
          <a:xfrm>
            <a:off x="5359783" y="1227600"/>
            <a:ext cx="6291602" cy="4788000"/>
          </a:xfrm>
        </p:spPr>
        <p:txBody>
          <a:bodyPr anchor="ctr"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244" name="Tijdelijke aanduiding voor verticale tekst 2">
            <a:extLst>
              <a:ext uri="{FF2B5EF4-FFF2-40B4-BE49-F238E27FC236}">
                <a16:creationId xmlns:a16="http://schemas.microsoft.com/office/drawing/2014/main" id="{3E2A8962-A05D-496F-9E00-5B463A9CA77E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575702" y="1227600"/>
            <a:ext cx="4662327" cy="4788000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bullets</a:t>
            </a:r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Cursief</a:t>
            </a:r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1A751BE-25B4-49AF-9B45-087E21AF2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9933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286">
          <p15:clr>
            <a:srgbClr val="FBAE40"/>
          </p15:clr>
        </p15:guide>
        <p15:guide id="5" pos="1366">
          <p15:clr>
            <a:srgbClr val="FBAE40"/>
          </p15:clr>
        </p15:guide>
        <p15:guide id="6" pos="2292">
          <p15:clr>
            <a:srgbClr val="FBAE40"/>
          </p15:clr>
        </p15:guide>
        <p15:guide id="7" pos="2372">
          <p15:clr>
            <a:srgbClr val="FBAE40"/>
          </p15:clr>
        </p15:guide>
        <p15:guide id="8" pos="3298">
          <p15:clr>
            <a:srgbClr val="FBAE40"/>
          </p15:clr>
        </p15:guide>
        <p15:guide id="9" pos="3378">
          <p15:clr>
            <a:srgbClr val="FBAE40"/>
          </p15:clr>
        </p15:guide>
        <p15:guide id="10" pos="4305">
          <p15:clr>
            <a:srgbClr val="FBAE40"/>
          </p15:clr>
        </p15:guide>
        <p15:guide id="11" pos="4385">
          <p15:clr>
            <a:srgbClr val="FBAE40"/>
          </p15:clr>
        </p15:guide>
        <p15:guide id="12" pos="5311">
          <p15:clr>
            <a:srgbClr val="FBAE40"/>
          </p15:clr>
        </p15:guide>
        <p15:guide id="13" pos="5391">
          <p15:clr>
            <a:srgbClr val="FBAE40"/>
          </p15:clr>
        </p15:guide>
        <p15:guide id="14" pos="6317">
          <p15:clr>
            <a:srgbClr val="FBAE40"/>
          </p15:clr>
        </p15:guide>
        <p15:guide id="15" pos="6397">
          <p15:clr>
            <a:srgbClr val="FBAE40"/>
          </p15:clr>
        </p15:guide>
        <p15:guide id="16" pos="7324">
          <p15:clr>
            <a:srgbClr val="FBAE40"/>
          </p15:clr>
        </p15:guide>
        <p15:guide id="17" orient="horz">
          <p15:clr>
            <a:srgbClr val="FBAE40"/>
          </p15:clr>
        </p15:guide>
        <p15:guide id="18" orient="horz" pos="4320">
          <p15:clr>
            <a:srgbClr val="FBAE40"/>
          </p15:clr>
        </p15:guide>
        <p15:guide id="19" orient="horz" pos="768">
          <p15:clr>
            <a:srgbClr val="FBAE40"/>
          </p15:clr>
        </p15:guide>
        <p15:guide id="20" orient="horz" pos="1466">
          <p15:clr>
            <a:srgbClr val="FBAE40"/>
          </p15:clr>
        </p15:guide>
        <p15:guide id="21" orient="horz" pos="1546">
          <p15:clr>
            <a:srgbClr val="FBAE40"/>
          </p15:clr>
        </p15:guide>
        <p15:guide id="22" orient="horz" pos="2244">
          <p15:clr>
            <a:srgbClr val="FBAE40"/>
          </p15:clr>
        </p15:guide>
        <p15:guide id="23" orient="horz" pos="2324">
          <p15:clr>
            <a:srgbClr val="FBAE40"/>
          </p15:clr>
        </p15:guide>
        <p15:guide id="24" orient="horz" pos="3022">
          <p15:clr>
            <a:srgbClr val="FBAE40"/>
          </p15:clr>
        </p15:guide>
        <p15:guide id="25" orient="horz" pos="3102">
          <p15:clr>
            <a:srgbClr val="FBAE40"/>
          </p15:clr>
        </p15:guide>
        <p15:guide id="26" orient="horz" pos="380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701" y="172150"/>
            <a:ext cx="11046684" cy="907506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699C2-D579-4B01-9693-1B26635B94E6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6165553" y="1227138"/>
            <a:ext cx="5456832" cy="4794250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79" name="Rechthoek 78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Voorstellen</a:t>
            </a:r>
          </a:p>
        </p:txBody>
      </p:sp>
      <p:grpSp>
        <p:nvGrpSpPr>
          <p:cNvPr id="63" name="Groep 62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4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5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6" name="Ovaal 65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67" name="Ovaal 66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80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2" name="Tekstvak 81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83" name="Rechthoek 82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84" name="Rechte verbindingslijn 83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5" name="Rechte verbindingslijn 84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6" name="Rechte verbindingslijn 85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87" name="Afbeelding 8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06B1DE2-6563-49E7-B0DD-AD5364194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202" y="2325415"/>
            <a:ext cx="5456832" cy="1234446"/>
          </a:xfrm>
        </p:spPr>
        <p:txBody>
          <a:bodyPr anchor="b"/>
          <a:lstStyle>
            <a:lvl1pPr marL="0" indent="0" algn="l">
              <a:buNone/>
              <a:defRPr sz="2799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4" name="Tijdelijke aanduiding voor tekst 7">
            <a:extLst>
              <a:ext uri="{FF2B5EF4-FFF2-40B4-BE49-F238E27FC236}">
                <a16:creationId xmlns:a16="http://schemas.microsoft.com/office/drawing/2014/main" id="{E03E77B1-4E9D-4C8F-9969-DC2D1F6966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202" y="3571987"/>
            <a:ext cx="5456832" cy="1215641"/>
          </a:xfrm>
        </p:spPr>
        <p:txBody>
          <a:bodyPr anchor="t"/>
          <a:lstStyle>
            <a:lvl1pPr marL="0" indent="0" algn="l">
              <a:buNone/>
              <a:defRPr sz="1999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nl-NL" dirty="0"/>
              <a:t>Rol / functie</a:t>
            </a:r>
          </a:p>
        </p:txBody>
      </p:sp>
    </p:spTree>
    <p:extLst>
      <p:ext uri="{BB962C8B-B14F-4D97-AF65-F5344CB8AC3E}">
        <p14:creationId xmlns:p14="http://schemas.microsoft.com/office/powerpoint/2010/main" val="61944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len -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99A921-4D99-498A-85A3-767A67C8D9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1219201"/>
            <a:ext cx="12192000" cy="2352675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lvl="0"/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5701" y="172150"/>
            <a:ext cx="11046684" cy="907506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699C2-D579-4B01-9693-1B26635B94E6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1423262" y="1288683"/>
            <a:ext cx="1902709" cy="2201859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79" name="Rechthoek 78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Voorstellen - team</a:t>
            </a:r>
          </a:p>
        </p:txBody>
      </p:sp>
      <p:grpSp>
        <p:nvGrpSpPr>
          <p:cNvPr id="63" name="Groep 62"/>
          <p:cNvGrpSpPr/>
          <p:nvPr userDrawn="1"/>
        </p:nvGrpSpPr>
        <p:grpSpPr>
          <a:xfrm>
            <a:off x="12260350" y="-26002"/>
            <a:ext cx="2771986" cy="4530930"/>
            <a:chOff x="12266735" y="-26002"/>
            <a:chExt cx="2773430" cy="4530930"/>
          </a:xfrm>
        </p:grpSpPr>
        <p:sp>
          <p:nvSpPr>
            <p:cNvPr id="64" name="Tekstvak 33"/>
            <p:cNvSpPr txBox="1"/>
            <p:nvPr userDrawn="1"/>
          </p:nvSpPr>
          <p:spPr>
            <a:xfrm>
              <a:off x="12440545" y="1001584"/>
              <a:ext cx="2285302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het icoontje om een nieuwe afbeelding in te </a:t>
              </a: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voegen.</a:t>
              </a:r>
              <a:endPara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5" name="Tekstvak 33"/>
            <p:cNvSpPr txBox="1"/>
            <p:nvPr userDrawn="1"/>
          </p:nvSpPr>
          <p:spPr>
            <a:xfrm>
              <a:off x="12440545" y="3140968"/>
              <a:ext cx="2142447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nl-NL"/>
              </a:defPPr>
              <a:lvl1pPr lvl="0">
                <a:defRPr sz="2800">
                  <a:solidFill>
                    <a:prstClr val="white">
                      <a:lumMod val="75000"/>
                    </a:prstClr>
                  </a:solidFill>
                  <a:latin typeface="+mj-lt"/>
                  <a:ea typeface="Tahoma" pitchFamily="34" charset="0"/>
                  <a:cs typeface="Arial" pitchFamily="34" charset="0"/>
                </a:defRPr>
              </a:lvl1pPr>
            </a:lstStyle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Zoek en selecteer de gewenste afbeelding. </a:t>
              </a:r>
              <a:b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</a:br>
              <a:r>
                <a:rPr kumimoji="0" lang="nl-NL" sz="1599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Klik op </a:t>
              </a:r>
              <a:r>
                <a:rPr kumimoji="0" lang="nl-NL" sz="1599" b="1" i="0" u="none" strike="noStrike" kern="0" cap="none" spc="0" normalizeH="0" baseline="0" noProof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  <a:ea typeface="Tahoma" pitchFamily="34" charset="0"/>
                  <a:cs typeface="Arial" pitchFamily="34" charset="0"/>
                </a:rPr>
                <a:t>´Invoegen´</a:t>
              </a:r>
              <a:endParaRPr kumimoji="0" lang="nl-NL" sz="15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Tahoma" pitchFamily="34" charset="0"/>
                <a:cs typeface="Arial" pitchFamily="34" charset="0"/>
              </a:endParaRPr>
            </a:p>
          </p:txBody>
        </p:sp>
        <p:sp>
          <p:nvSpPr>
            <p:cNvPr id="66" name="Ovaal 65"/>
            <p:cNvSpPr/>
            <p:nvPr userDrawn="1"/>
          </p:nvSpPr>
          <p:spPr>
            <a:xfrm>
              <a:off x="12397529" y="505307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  <p:sp>
          <p:nvSpPr>
            <p:cNvPr id="67" name="Ovaal 66"/>
            <p:cNvSpPr/>
            <p:nvPr userDrawn="1"/>
          </p:nvSpPr>
          <p:spPr>
            <a:xfrm>
              <a:off x="12397529" y="2667422"/>
              <a:ext cx="401538" cy="401538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599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2</a:t>
              </a:r>
            </a:p>
          </p:txBody>
        </p:sp>
        <p:pic>
          <p:nvPicPr>
            <p:cNvPr id="80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0" t="13535" r="3470" b="13927"/>
            <a:stretch/>
          </p:blipFill>
          <p:spPr bwMode="auto">
            <a:xfrm>
              <a:off x="12437994" y="3993281"/>
              <a:ext cx="1107757" cy="297656"/>
            </a:xfrm>
            <a:prstGeom prst="roundRect">
              <a:avLst>
                <a:gd name="adj" fmla="val 14496"/>
              </a:avLst>
            </a:prstGeom>
            <a:noFill/>
            <a:ln w="6350">
              <a:solidFill>
                <a:srgbClr val="E2AC00">
                  <a:lumMod val="50000"/>
                </a:srgbClr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04" t="23401" r="80712" b="21471"/>
            <a:stretch/>
          </p:blipFill>
          <p:spPr bwMode="auto">
            <a:xfrm>
              <a:off x="12507452" y="4033762"/>
              <a:ext cx="792088" cy="226219"/>
            </a:xfrm>
            <a:prstGeom prst="roundRect">
              <a:avLst>
                <a:gd name="adj" fmla="val 14496"/>
              </a:avLst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2" name="Tekstvak 81"/>
            <p:cNvSpPr txBox="1"/>
            <p:nvPr userDrawn="1"/>
          </p:nvSpPr>
          <p:spPr>
            <a:xfrm>
              <a:off x="12520076" y="4020160"/>
              <a:ext cx="77946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99" b="1" i="0" u="none" strike="noStrike" kern="0" cap="none" spc="0" normalizeH="0" baseline="0" noProof="0">
                  <a:ln>
                    <a:noFill/>
                  </a:ln>
                  <a:solidFill>
                    <a:srgbClr val="005634">
                      <a:lumMod val="25000"/>
                    </a:srgbClr>
                  </a:solidFill>
                  <a:effectLst>
                    <a:outerShdw blurRad="25400" algn="ctr" rotWithShape="0">
                      <a:prstClr val="white"/>
                    </a:outerShdw>
                  </a:effectLst>
                  <a:uLnTx/>
                  <a:uFillTx/>
                  <a:latin typeface="Calibri"/>
                </a:rPr>
                <a:t>Invoegen</a:t>
              </a:r>
              <a:endParaRPr kumimoji="0" lang="nl-NL" sz="1099" b="1" i="0" u="none" strike="noStrike" kern="0" cap="none" spc="0" normalizeH="0" baseline="0" noProof="0" dirty="0">
                <a:ln>
                  <a:noFill/>
                </a:ln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uLnTx/>
                <a:uFillTx/>
                <a:latin typeface="Calibri"/>
              </a:endParaRPr>
            </a:p>
          </p:txBody>
        </p:sp>
        <p:sp>
          <p:nvSpPr>
            <p:cNvPr id="83" name="Rechthoek 82"/>
            <p:cNvSpPr/>
            <p:nvPr userDrawn="1"/>
          </p:nvSpPr>
          <p:spPr>
            <a:xfrm>
              <a:off x="12266735" y="-26002"/>
              <a:ext cx="2773430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/>
                </a:rPr>
                <a:t>AFBEELDING INVOEGEN</a:t>
              </a:r>
            </a:p>
          </p:txBody>
        </p:sp>
        <p:cxnSp>
          <p:nvCxnSpPr>
            <p:cNvPr id="84" name="Rechte verbindingslijn 83"/>
            <p:cNvCxnSpPr/>
            <p:nvPr userDrawn="1"/>
          </p:nvCxnSpPr>
          <p:spPr>
            <a:xfrm>
              <a:off x="12410414" y="35898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5" name="Rechte verbindingslijn 84"/>
            <p:cNvCxnSpPr/>
            <p:nvPr userDrawn="1"/>
          </p:nvCxnSpPr>
          <p:spPr>
            <a:xfrm>
              <a:off x="12410075" y="2564904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86" name="Rechte verbindingslijn 85"/>
            <p:cNvCxnSpPr/>
            <p:nvPr userDrawn="1"/>
          </p:nvCxnSpPr>
          <p:spPr>
            <a:xfrm>
              <a:off x="12410414" y="4504928"/>
              <a:ext cx="2315433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87" name="Afbeelding 8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0545" y="1810798"/>
              <a:ext cx="610090" cy="610090"/>
            </a:xfrm>
            <a:prstGeom prst="rect">
              <a:avLst/>
            </a:prstGeom>
          </p:spPr>
        </p:pic>
      </p:grp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B06B1DE2-6563-49E7-B0DD-AD53641947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202" y="3699448"/>
            <a:ext cx="3598576" cy="324000"/>
          </a:xfrm>
        </p:spPr>
        <p:txBody>
          <a:bodyPr anchor="ctr"/>
          <a:lstStyle>
            <a:lvl1pPr marL="0" indent="0" algn="ctr">
              <a:buNone/>
              <a:defRPr sz="1799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4" name="Tijdelijke aanduiding voor tekst 7">
            <a:extLst>
              <a:ext uri="{FF2B5EF4-FFF2-40B4-BE49-F238E27FC236}">
                <a16:creationId xmlns:a16="http://schemas.microsoft.com/office/drawing/2014/main" id="{E03E77B1-4E9D-4C8F-9969-DC2D1F6966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202" y="4150911"/>
            <a:ext cx="3598576" cy="1881586"/>
          </a:xfrm>
        </p:spPr>
        <p:txBody>
          <a:bodyPr anchor="t"/>
          <a:lstStyle>
            <a:lvl1pPr marL="0" indent="0" algn="ctr">
              <a:buNone/>
              <a:defRPr sz="1399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nl-NL" dirty="0"/>
              <a:t>Rol / functie</a:t>
            </a:r>
          </a:p>
        </p:txBody>
      </p:sp>
      <p:sp>
        <p:nvSpPr>
          <p:cNvPr id="23" name="Tijdelijke aanduiding voor afbeelding 2">
            <a:extLst>
              <a:ext uri="{FF2B5EF4-FFF2-40B4-BE49-F238E27FC236}">
                <a16:creationId xmlns:a16="http://schemas.microsoft.com/office/drawing/2014/main" id="{44A4D02F-F511-4568-9FE4-EC4B560187D9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5144646" y="1288683"/>
            <a:ext cx="1902709" cy="2201859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25" name="Tijdelijke aanduiding voor afbeelding 2">
            <a:extLst>
              <a:ext uri="{FF2B5EF4-FFF2-40B4-BE49-F238E27FC236}">
                <a16:creationId xmlns:a16="http://schemas.microsoft.com/office/drawing/2014/main" id="{5C8F3463-F03F-468B-8119-1A07CAA7C7F6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8866029" y="1288683"/>
            <a:ext cx="1902709" cy="2201859"/>
          </a:xfrm>
        </p:spPr>
        <p:txBody>
          <a:bodyPr anchor="ctr"/>
          <a:lstStyle>
            <a:lvl1pPr marL="0" indent="0" algn="ctr">
              <a:buNone/>
              <a:defRPr sz="1599"/>
            </a:lvl1pPr>
            <a:lvl2pPr marL="456971" indent="0">
              <a:buNone/>
              <a:defRPr sz="2799"/>
            </a:lvl2pPr>
            <a:lvl3pPr marL="913943" indent="0">
              <a:buNone/>
              <a:defRPr sz="2399"/>
            </a:lvl3pPr>
            <a:lvl4pPr marL="1370914" indent="0">
              <a:buNone/>
              <a:defRPr sz="1999"/>
            </a:lvl4pPr>
            <a:lvl5pPr marL="1827886" indent="0">
              <a:buNone/>
              <a:defRPr sz="1999"/>
            </a:lvl5pPr>
            <a:lvl6pPr marL="2284857" indent="0">
              <a:buNone/>
              <a:defRPr sz="1999"/>
            </a:lvl6pPr>
            <a:lvl7pPr marL="2741828" indent="0">
              <a:buNone/>
              <a:defRPr sz="1999"/>
            </a:lvl7pPr>
            <a:lvl8pPr marL="3198800" indent="0">
              <a:buNone/>
              <a:defRPr sz="1999"/>
            </a:lvl8pPr>
            <a:lvl9pPr marL="3655771" indent="0">
              <a:buNone/>
              <a:defRPr sz="1999"/>
            </a:lvl9pPr>
          </a:lstStyle>
          <a:p>
            <a:endParaRPr lang="nl-NL"/>
          </a:p>
        </p:txBody>
      </p:sp>
      <p:sp>
        <p:nvSpPr>
          <p:cNvPr id="26" name="Tijdelijke aanduiding voor tekst 7">
            <a:extLst>
              <a:ext uri="{FF2B5EF4-FFF2-40B4-BE49-F238E27FC236}">
                <a16:creationId xmlns:a16="http://schemas.microsoft.com/office/drawing/2014/main" id="{08E3C5D3-09B5-47AE-8F78-1A2C8B9B54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7506" y="3699448"/>
            <a:ext cx="3598576" cy="324000"/>
          </a:xfrm>
        </p:spPr>
        <p:txBody>
          <a:bodyPr anchor="ctr"/>
          <a:lstStyle>
            <a:lvl1pPr marL="0" indent="0" algn="ctr">
              <a:buNone/>
              <a:defRPr sz="1799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7" name="Tijdelijke aanduiding voor tekst 7">
            <a:extLst>
              <a:ext uri="{FF2B5EF4-FFF2-40B4-BE49-F238E27FC236}">
                <a16:creationId xmlns:a16="http://schemas.microsoft.com/office/drawing/2014/main" id="{EA7A70EC-67E4-4FEF-8A69-2E4F30FD890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7506" y="4150911"/>
            <a:ext cx="3598576" cy="1881586"/>
          </a:xfrm>
        </p:spPr>
        <p:txBody>
          <a:bodyPr anchor="t"/>
          <a:lstStyle>
            <a:lvl1pPr marL="0" indent="0" algn="ctr">
              <a:buNone/>
              <a:defRPr sz="1399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nl-NL" dirty="0"/>
              <a:t>Rol / functie</a:t>
            </a:r>
          </a:p>
        </p:txBody>
      </p:sp>
      <p:sp>
        <p:nvSpPr>
          <p:cNvPr id="28" name="Tijdelijke aanduiding voor tekst 7">
            <a:extLst>
              <a:ext uri="{FF2B5EF4-FFF2-40B4-BE49-F238E27FC236}">
                <a16:creationId xmlns:a16="http://schemas.microsoft.com/office/drawing/2014/main" id="{F698B01E-0797-4663-92D9-6F350C64EB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809" y="3699448"/>
            <a:ext cx="3598576" cy="324000"/>
          </a:xfrm>
        </p:spPr>
        <p:txBody>
          <a:bodyPr anchor="ctr"/>
          <a:lstStyle>
            <a:lvl1pPr marL="0" indent="0" algn="ctr">
              <a:buNone/>
              <a:defRPr sz="1799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9" name="Tijdelijke aanduiding voor tekst 7">
            <a:extLst>
              <a:ext uri="{FF2B5EF4-FFF2-40B4-BE49-F238E27FC236}">
                <a16:creationId xmlns:a16="http://schemas.microsoft.com/office/drawing/2014/main" id="{FAA0C865-C447-469F-A497-2B5B2216EB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3809" y="4150911"/>
            <a:ext cx="3598576" cy="1881586"/>
          </a:xfrm>
        </p:spPr>
        <p:txBody>
          <a:bodyPr anchor="t"/>
          <a:lstStyle>
            <a:lvl1pPr marL="0" indent="0" algn="ctr">
              <a:buNone/>
              <a:defRPr sz="1399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nl-NL" dirty="0"/>
              <a:t>Rol / functie</a:t>
            </a:r>
          </a:p>
        </p:txBody>
      </p:sp>
    </p:spTree>
    <p:extLst>
      <p:ext uri="{BB962C8B-B14F-4D97-AF65-F5344CB8AC3E}">
        <p14:creationId xmlns:p14="http://schemas.microsoft.com/office/powerpoint/2010/main" val="245821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edig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8EE066D9-453C-4990-8830-55DA604E574D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l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Volledig beeld</a:t>
            </a:r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A1CE46FB-5D79-448D-969C-87915A858D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6836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edig beeld met zo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8EE066D9-453C-4990-8830-55DA604E574D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l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Volledig beeld met zoom</a:t>
            </a:r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A1CE46FB-5D79-448D-969C-87915A858D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l-NL" dirty="0"/>
              <a:t>Met zoom</a:t>
            </a:r>
          </a:p>
        </p:txBody>
      </p:sp>
    </p:spTree>
    <p:extLst>
      <p:ext uri="{BB962C8B-B14F-4D97-AF65-F5344CB8AC3E}">
        <p14:creationId xmlns:p14="http://schemas.microsoft.com/office/powerpoint/2010/main" val="349508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500" fill="hold"/>
                                        <p:tgtEl>
                                          <p:spTgt spid="4"/>
                                        </p:tgtEl>
                                      </p:cBhvr>
                                      <p:by x="108000" y="108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2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8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871200" y="6464325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B8545-EC8B-440D-9146-944DF25D9320}" type="slidenum">
              <a:rPr kumimoji="0" lang="de-DE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8A618"/>
                </a:solidFill>
                <a:effectLst/>
                <a:uLnTx/>
                <a:uFillTx/>
                <a:latin typeface="Ubuntu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</p:txBody>
      </p:sp>
      <p:pic>
        <p:nvPicPr>
          <p:cNvPr id="9" name="Picture 14" descr="BENU Uplift Bar LONG BAR RGB.em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" y="6453188"/>
            <a:ext cx="1108921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BENU Uplift Bar SHORT BAR RGB.emf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13650" y="6531000"/>
            <a:ext cx="478367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Afbeelding 13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3936" y="49213"/>
            <a:ext cx="162771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kstvak 11"/>
          <p:cNvSpPr txBox="1"/>
          <p:nvPr userDrawn="1"/>
        </p:nvSpPr>
        <p:spPr>
          <a:xfrm>
            <a:off x="239184" y="6196038"/>
            <a:ext cx="7584016" cy="287337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nl-NL" sz="1050" b="0" i="0" u="none" strike="noStrike" kern="1200" cap="none" spc="0" normalizeH="0" baseline="0" noProof="0" dirty="0">
              <a:ln>
                <a:noFill/>
              </a:ln>
              <a:solidFill>
                <a:srgbClr val="00266E"/>
              </a:solidFill>
              <a:effectLst/>
              <a:uLnTx/>
              <a:uFillTx/>
              <a:latin typeface="Ubuntu"/>
              <a:ea typeface="ＭＳ Ｐゴシック" pitchFamily="34" charset="-128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266E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9185" y="990600"/>
            <a:ext cx="11808883" cy="5113338"/>
          </a:xfrm>
        </p:spPr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de-DE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0"/>
          </p:nvPr>
        </p:nvSpPr>
        <p:spPr>
          <a:xfrm>
            <a:off x="239184" y="6196038"/>
            <a:ext cx="7584016" cy="287337"/>
          </a:xfrm>
        </p:spPr>
        <p:txBody>
          <a:bodyPr/>
          <a:lstStyle>
            <a:lvl1pPr marL="0" indent="0">
              <a:buNone/>
              <a:defRPr sz="1000" b="0"/>
            </a:lvl1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6757840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DD2C1-5FE9-4675-92BA-03507F9AD302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50" name="Rechthoek 49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Laptop</a:t>
            </a:r>
          </a:p>
        </p:txBody>
      </p:sp>
      <p:sp>
        <p:nvSpPr>
          <p:cNvPr id="31" name="Tekstvak 33"/>
          <p:cNvSpPr txBox="1"/>
          <p:nvPr userDrawn="1"/>
        </p:nvSpPr>
        <p:spPr>
          <a:xfrm>
            <a:off x="12434069" y="1001584"/>
            <a:ext cx="206685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Klik op het icoontje </a:t>
            </a:r>
            <a:br>
              <a:rPr lang="nl-NL" sz="1599" kern="0" dirty="0">
                <a:solidFill>
                  <a:srgbClr val="000000"/>
                </a:solidFill>
                <a:latin typeface="Calibri"/>
              </a:rPr>
            </a:br>
            <a:r>
              <a:rPr lang="nl-NL" sz="1599" kern="0" dirty="0">
                <a:solidFill>
                  <a:srgbClr val="000000"/>
                </a:solidFill>
                <a:latin typeface="Calibri"/>
              </a:rPr>
              <a:t>om een nieuwe</a:t>
            </a:r>
          </a:p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video in te voegen.</a:t>
            </a:r>
          </a:p>
        </p:txBody>
      </p:sp>
      <p:sp>
        <p:nvSpPr>
          <p:cNvPr id="32" name="Tekstvak 33"/>
          <p:cNvSpPr txBox="1"/>
          <p:nvPr userDrawn="1"/>
        </p:nvSpPr>
        <p:spPr>
          <a:xfrm>
            <a:off x="12434069" y="3359672"/>
            <a:ext cx="214133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Zoek naar de video die u</a:t>
            </a:r>
          </a:p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wilt invoegen en klik op deze. Klik op </a:t>
            </a:r>
            <a:r>
              <a:rPr lang="nl-NL" sz="1599" b="1" kern="0">
                <a:solidFill>
                  <a:schemeClr val="tx2"/>
                </a:solidFill>
                <a:latin typeface="Calibri"/>
              </a:rPr>
              <a:t>´Invoegen´</a:t>
            </a:r>
            <a:endParaRPr lang="nl-NL" sz="1599" b="1" kern="0" dirty="0">
              <a:solidFill>
                <a:schemeClr val="tx2"/>
              </a:solidFill>
              <a:latin typeface="Calibri"/>
            </a:endParaRPr>
          </a:p>
        </p:txBody>
      </p:sp>
      <p:sp>
        <p:nvSpPr>
          <p:cNvPr id="33" name="Ovaal 32"/>
          <p:cNvSpPr/>
          <p:nvPr userDrawn="1"/>
        </p:nvSpPr>
        <p:spPr>
          <a:xfrm>
            <a:off x="12391075" y="505307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1</a:t>
            </a:r>
          </a:p>
        </p:txBody>
      </p:sp>
      <p:sp>
        <p:nvSpPr>
          <p:cNvPr id="34" name="Ovaal 33"/>
          <p:cNvSpPr/>
          <p:nvPr userDrawn="1"/>
        </p:nvSpPr>
        <p:spPr>
          <a:xfrm>
            <a:off x="12391075" y="2826560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2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13535" r="3470" b="13927"/>
          <a:stretch/>
        </p:blipFill>
        <p:spPr bwMode="auto">
          <a:xfrm>
            <a:off x="12431520" y="4272945"/>
            <a:ext cx="1107180" cy="297656"/>
          </a:xfrm>
          <a:prstGeom prst="roundRect">
            <a:avLst>
              <a:gd name="adj" fmla="val 14496"/>
            </a:avLst>
          </a:prstGeom>
          <a:noFill/>
          <a:ln w="6350">
            <a:solidFill>
              <a:srgbClr val="E2AC00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4" t="23401" r="80712" b="21471"/>
          <a:stretch/>
        </p:blipFill>
        <p:spPr bwMode="auto">
          <a:xfrm>
            <a:off x="12500941" y="4313427"/>
            <a:ext cx="791676" cy="226219"/>
          </a:xfrm>
          <a:prstGeom prst="roundRect">
            <a:avLst>
              <a:gd name="adj" fmla="val 14496"/>
            </a:avLst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7" name="Tekstvak 36"/>
          <p:cNvSpPr txBox="1"/>
          <p:nvPr userDrawn="1"/>
        </p:nvSpPr>
        <p:spPr>
          <a:xfrm>
            <a:off x="12513559" y="4299824"/>
            <a:ext cx="77905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nl-NL" sz="1099" b="1" kern="0"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latin typeface="Calibri"/>
              </a:rPr>
              <a:t>Invoegen</a:t>
            </a:r>
            <a:endParaRPr lang="nl-NL" sz="1099" b="1" kern="0" dirty="0">
              <a:solidFill>
                <a:srgbClr val="005634">
                  <a:lumMod val="25000"/>
                </a:srgbClr>
              </a:solidFill>
              <a:effectLst>
                <a:outerShdw blurRad="25400" algn="ctr" rotWithShape="0">
                  <a:prstClr val="white"/>
                </a:outerShdw>
              </a:effectLst>
              <a:latin typeface="Calibri"/>
            </a:endParaRPr>
          </a:p>
        </p:txBody>
      </p:sp>
      <p:sp>
        <p:nvSpPr>
          <p:cNvPr id="38" name="Rechthoek 37"/>
          <p:cNvSpPr/>
          <p:nvPr userDrawn="1"/>
        </p:nvSpPr>
        <p:spPr>
          <a:xfrm>
            <a:off x="12260350" y="-2600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VIDEO INVOEGEN</a:t>
            </a:r>
          </a:p>
        </p:txBody>
      </p:sp>
      <p:cxnSp>
        <p:nvCxnSpPr>
          <p:cNvPr id="39" name="Rechte verbindingslijn 38"/>
          <p:cNvCxnSpPr/>
          <p:nvPr userDrawn="1"/>
        </p:nvCxnSpPr>
        <p:spPr>
          <a:xfrm>
            <a:off x="12403954" y="358984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48" name="Rechte verbindingslijn 47"/>
          <p:cNvCxnSpPr/>
          <p:nvPr userDrawn="1"/>
        </p:nvCxnSpPr>
        <p:spPr>
          <a:xfrm>
            <a:off x="12403615" y="263540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49" name="Rechte verbindingslijn 48"/>
          <p:cNvCxnSpPr/>
          <p:nvPr userDrawn="1"/>
        </p:nvCxnSpPr>
        <p:spPr>
          <a:xfrm>
            <a:off x="12403954" y="4723632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pic>
        <p:nvPicPr>
          <p:cNvPr id="51" name="Picture 2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8358" y="1844824"/>
            <a:ext cx="718684" cy="60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">
            <a:extLst>
              <a:ext uri="{FF2B5EF4-FFF2-40B4-BE49-F238E27FC236}">
                <a16:creationId xmlns:a16="http://schemas.microsoft.com/office/drawing/2014/main" id="{D9F1656C-35C9-455F-85AA-C32D94FCC8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5871" y="1151026"/>
            <a:ext cx="8274718" cy="4963478"/>
          </a:xfrm>
          <a:prstGeom prst="rect">
            <a:avLst/>
          </a:prstGeom>
          <a:effectLst/>
        </p:spPr>
      </p:pic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ED8D4602-C3DD-4CED-8092-24891F7455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945734" y="1517131"/>
            <a:ext cx="6314993" cy="394639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599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nl-NL"/>
              <a:t>Klik op icon en plaats de afbeelding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5705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2041">
          <p15:clr>
            <a:srgbClr val="FBAE40"/>
          </p15:clr>
        </p15:guide>
        <p15:guide id="5" pos="2121">
          <p15:clr>
            <a:srgbClr val="FBAE40"/>
          </p15:clr>
        </p15:guide>
        <p15:guide id="6" pos="3802">
          <p15:clr>
            <a:srgbClr val="FBAE40"/>
          </p15:clr>
        </p15:guide>
        <p15:guide id="7" pos="3882">
          <p15:clr>
            <a:srgbClr val="FBAE40"/>
          </p15:clr>
        </p15:guide>
        <p15:guide id="8" pos="5563">
          <p15:clr>
            <a:srgbClr val="FBAE40"/>
          </p15:clr>
        </p15:guide>
        <p15:guide id="9" pos="5643">
          <p15:clr>
            <a:srgbClr val="FBAE40"/>
          </p15:clr>
        </p15:guide>
        <p15:guide id="10" pos="7324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768">
          <p15:clr>
            <a:srgbClr val="FBAE40"/>
          </p15:clr>
        </p15:guide>
        <p15:guide id="14" orient="horz" pos="1466">
          <p15:clr>
            <a:srgbClr val="FBAE40"/>
          </p15:clr>
        </p15:guide>
        <p15:guide id="15" orient="horz" pos="1546">
          <p15:clr>
            <a:srgbClr val="FBAE40"/>
          </p15:clr>
        </p15:guide>
        <p15:guide id="16" orient="horz" pos="2244">
          <p15:clr>
            <a:srgbClr val="FBAE40"/>
          </p15:clr>
        </p15:guide>
        <p15:guide id="17" orient="horz" pos="2324">
          <p15:clr>
            <a:srgbClr val="FBAE40"/>
          </p15:clr>
        </p15:guide>
        <p15:guide id="18" orient="horz" pos="3022">
          <p15:clr>
            <a:srgbClr val="FBAE40"/>
          </p15:clr>
        </p15:guide>
        <p15:guide id="19" orient="horz" pos="3102">
          <p15:clr>
            <a:srgbClr val="FBAE40"/>
          </p15:clr>
        </p15:guide>
        <p15:guide id="20" orient="horz" pos="380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B0027B-F609-4517-AA1F-DCB4CE22F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285681-4EBD-4C08-B0E5-EA35E1ED2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F96E2-5BB9-4B4B-B3D4-07F22957B91D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AB2A907-BEB9-4CE5-A85C-C531BB7AC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FFC42F-DE5E-4E0E-AFCE-7B6E343A4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7185DF-E815-4DFF-93E7-9ED8476565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880" y="1304477"/>
            <a:ext cx="1941637" cy="3960529"/>
          </a:xfrm>
          <a:prstGeom prst="rect">
            <a:avLst/>
          </a:prstGeom>
          <a:effectLst/>
        </p:spPr>
      </p:pic>
      <p:pic>
        <p:nvPicPr>
          <p:cNvPr id="9" name="Picture 1">
            <a:extLst>
              <a:ext uri="{FF2B5EF4-FFF2-40B4-BE49-F238E27FC236}">
                <a16:creationId xmlns:a16="http://schemas.microsoft.com/office/drawing/2014/main" id="{7E3C5919-C065-44E4-8E56-747883575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24"/>
          <a:stretch/>
        </p:blipFill>
        <p:spPr>
          <a:xfrm>
            <a:off x="-525287" y="-823618"/>
            <a:ext cx="5337099" cy="7683602"/>
          </a:xfrm>
          <a:prstGeom prst="rect">
            <a:avLst/>
          </a:prstGeom>
          <a:effectLst/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C6983EB9-A08E-439F-ACE8-5962C2FB7E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90083" y="1933941"/>
            <a:ext cx="1674314" cy="297641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599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nl-NL"/>
              <a:t>Klik op icon en plaats de afbeelding</a:t>
            </a:r>
            <a:endParaRPr lang="nl-NL" dirty="0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ED9813F3-58DC-44CD-B301-34DCA98B3C21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lefoon los</a:t>
            </a:r>
          </a:p>
        </p:txBody>
      </p:sp>
    </p:spTree>
    <p:extLst>
      <p:ext uri="{BB962C8B-B14F-4D97-AF65-F5344CB8AC3E}">
        <p14:creationId xmlns:p14="http://schemas.microsoft.com/office/powerpoint/2010/main" val="289191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2041">
          <p15:clr>
            <a:srgbClr val="FBAE40"/>
          </p15:clr>
        </p15:guide>
        <p15:guide id="5" pos="2121">
          <p15:clr>
            <a:srgbClr val="FBAE40"/>
          </p15:clr>
        </p15:guide>
        <p15:guide id="6" pos="3802">
          <p15:clr>
            <a:srgbClr val="FBAE40"/>
          </p15:clr>
        </p15:guide>
        <p15:guide id="7" pos="3882">
          <p15:clr>
            <a:srgbClr val="FBAE40"/>
          </p15:clr>
        </p15:guide>
        <p15:guide id="8" pos="5563">
          <p15:clr>
            <a:srgbClr val="FBAE40"/>
          </p15:clr>
        </p15:guide>
        <p15:guide id="9" pos="5643">
          <p15:clr>
            <a:srgbClr val="FBAE40"/>
          </p15:clr>
        </p15:guide>
        <p15:guide id="10" pos="7324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768">
          <p15:clr>
            <a:srgbClr val="FBAE40"/>
          </p15:clr>
        </p15:guide>
        <p15:guide id="14" orient="horz" pos="1466">
          <p15:clr>
            <a:srgbClr val="FBAE40"/>
          </p15:clr>
        </p15:guide>
        <p15:guide id="15" orient="horz" pos="1546">
          <p15:clr>
            <a:srgbClr val="FBAE40"/>
          </p15:clr>
        </p15:guide>
        <p15:guide id="16" orient="horz" pos="2244">
          <p15:clr>
            <a:srgbClr val="FBAE40"/>
          </p15:clr>
        </p15:guide>
        <p15:guide id="17" orient="horz" pos="2324">
          <p15:clr>
            <a:srgbClr val="FBAE40"/>
          </p15:clr>
        </p15:guide>
        <p15:guide id="18" orient="horz" pos="3022">
          <p15:clr>
            <a:srgbClr val="FBAE40"/>
          </p15:clr>
        </p15:guide>
        <p15:guide id="19" orient="horz" pos="3102">
          <p15:clr>
            <a:srgbClr val="FBAE40"/>
          </p15:clr>
        </p15:guide>
        <p15:guide id="20" orient="horz" pos="380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oon l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B0027B-F609-4517-AA1F-DCB4CE22F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285681-4EBD-4C08-B0E5-EA35E1ED2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F96E2-5BB9-4B4B-B3D4-07F22957B91D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AB2A907-BEB9-4CE5-A85C-C531BB7AC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FFC42F-DE5E-4E0E-AFCE-7B6E343A4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7185DF-E815-4DFF-93E7-9ED8476565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02" y="1390429"/>
            <a:ext cx="1941637" cy="3960529"/>
          </a:xfrm>
          <a:prstGeom prst="rect">
            <a:avLst/>
          </a:prstGeom>
          <a:effectLst/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C6983EB9-A08E-439F-ACE8-5962C2FB7E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4405" y="2019893"/>
            <a:ext cx="1674314" cy="297641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599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nl-NL"/>
              <a:t>Klik op icon en plaats de afbeelding</a:t>
            </a:r>
            <a:endParaRPr lang="nl-NL" dirty="0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ED9813F3-58DC-44CD-B301-34DCA98B3C21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elefoon</a:t>
            </a:r>
          </a:p>
        </p:txBody>
      </p:sp>
    </p:spTree>
    <p:extLst>
      <p:ext uri="{BB962C8B-B14F-4D97-AF65-F5344CB8AC3E}">
        <p14:creationId xmlns:p14="http://schemas.microsoft.com/office/powerpoint/2010/main" val="228533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2041">
          <p15:clr>
            <a:srgbClr val="FBAE40"/>
          </p15:clr>
        </p15:guide>
        <p15:guide id="5" pos="2121">
          <p15:clr>
            <a:srgbClr val="FBAE40"/>
          </p15:clr>
        </p15:guide>
        <p15:guide id="6" pos="3802">
          <p15:clr>
            <a:srgbClr val="FBAE40"/>
          </p15:clr>
        </p15:guide>
        <p15:guide id="7" pos="3882">
          <p15:clr>
            <a:srgbClr val="FBAE40"/>
          </p15:clr>
        </p15:guide>
        <p15:guide id="8" pos="5563">
          <p15:clr>
            <a:srgbClr val="FBAE40"/>
          </p15:clr>
        </p15:guide>
        <p15:guide id="9" pos="5643">
          <p15:clr>
            <a:srgbClr val="FBAE40"/>
          </p15:clr>
        </p15:guide>
        <p15:guide id="10" pos="7324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768">
          <p15:clr>
            <a:srgbClr val="FBAE40"/>
          </p15:clr>
        </p15:guide>
        <p15:guide id="14" orient="horz" pos="1466">
          <p15:clr>
            <a:srgbClr val="FBAE40"/>
          </p15:clr>
        </p15:guide>
        <p15:guide id="15" orient="horz" pos="1546">
          <p15:clr>
            <a:srgbClr val="FBAE40"/>
          </p15:clr>
        </p15:guide>
        <p15:guide id="16" orient="horz" pos="2244">
          <p15:clr>
            <a:srgbClr val="FBAE40"/>
          </p15:clr>
        </p15:guide>
        <p15:guide id="17" orient="horz" pos="2324">
          <p15:clr>
            <a:srgbClr val="FBAE40"/>
          </p15:clr>
        </p15:guide>
        <p15:guide id="18" orient="horz" pos="3022">
          <p15:clr>
            <a:srgbClr val="FBAE40"/>
          </p15:clr>
        </p15:guide>
        <p15:guide id="19" orient="horz" pos="3102">
          <p15:clr>
            <a:srgbClr val="FBAE40"/>
          </p15:clr>
        </p15:guide>
        <p15:guide id="20" orient="horz" pos="380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B0027B-F609-4517-AA1F-DCB4CE22F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285681-4EBD-4C08-B0E5-EA35E1ED21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C9D006-AFB6-4345-9512-F259C1D64C83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AB2A907-BEB9-4CE5-A85C-C531BB7AC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Ga naar Invoegen Koptekst &amp; Voettekst; Overal toepass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FFC42F-DE5E-4E0E-AFCE-7B6E343A4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2F56AF-52DD-4DF6-B439-3FC8E38D39F7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C1BDC5FC-F1B4-4630-945E-EC6561C51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628286" y="124376"/>
            <a:ext cx="4939393" cy="6854430"/>
          </a:xfrm>
          <a:prstGeom prst="rect">
            <a:avLst/>
          </a:prstGeom>
          <a:effectLst/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B5D782D-C047-49B1-A9A2-648E9576E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80801" y="1584934"/>
            <a:ext cx="5234362" cy="3938952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599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nl-NL"/>
              <a:t>Klik op icon en plaats de afbeelding</a:t>
            </a:r>
            <a:endParaRPr lang="nl-NL" dirty="0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5E2F5CAB-BE76-4CC1-9C67-412E38041BE1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Tablet</a:t>
            </a:r>
          </a:p>
        </p:txBody>
      </p:sp>
    </p:spTree>
    <p:extLst>
      <p:ext uri="{BB962C8B-B14F-4D97-AF65-F5344CB8AC3E}">
        <p14:creationId xmlns:p14="http://schemas.microsoft.com/office/powerpoint/2010/main" val="645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2041">
          <p15:clr>
            <a:srgbClr val="FBAE40"/>
          </p15:clr>
        </p15:guide>
        <p15:guide id="5" pos="2121">
          <p15:clr>
            <a:srgbClr val="FBAE40"/>
          </p15:clr>
        </p15:guide>
        <p15:guide id="6" pos="3802">
          <p15:clr>
            <a:srgbClr val="FBAE40"/>
          </p15:clr>
        </p15:guide>
        <p15:guide id="7" pos="3882">
          <p15:clr>
            <a:srgbClr val="FBAE40"/>
          </p15:clr>
        </p15:guide>
        <p15:guide id="8" pos="5563">
          <p15:clr>
            <a:srgbClr val="FBAE40"/>
          </p15:clr>
        </p15:guide>
        <p15:guide id="9" pos="5643">
          <p15:clr>
            <a:srgbClr val="FBAE40"/>
          </p15:clr>
        </p15:guide>
        <p15:guide id="10" pos="7324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768">
          <p15:clr>
            <a:srgbClr val="FBAE40"/>
          </p15:clr>
        </p15:guide>
        <p15:guide id="14" orient="horz" pos="1466">
          <p15:clr>
            <a:srgbClr val="FBAE40"/>
          </p15:clr>
        </p15:guide>
        <p15:guide id="15" orient="horz" pos="1546">
          <p15:clr>
            <a:srgbClr val="FBAE40"/>
          </p15:clr>
        </p15:guide>
        <p15:guide id="16" orient="horz" pos="2244">
          <p15:clr>
            <a:srgbClr val="FBAE40"/>
          </p15:clr>
        </p15:guide>
        <p15:guide id="17" orient="horz" pos="2324">
          <p15:clr>
            <a:srgbClr val="FBAE40"/>
          </p15:clr>
        </p15:guide>
        <p15:guide id="18" orient="horz" pos="3022">
          <p15:clr>
            <a:srgbClr val="FBAE40"/>
          </p15:clr>
        </p15:guide>
        <p15:guide id="19" orient="horz" pos="3102">
          <p15:clr>
            <a:srgbClr val="FBAE40"/>
          </p15:clr>
        </p15:guide>
        <p15:guide id="20" orient="horz" pos="380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volled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hthoek 49"/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Video volledig</a:t>
            </a:r>
          </a:p>
        </p:txBody>
      </p:sp>
      <p:sp>
        <p:nvSpPr>
          <p:cNvPr id="31" name="Tekstvak 33"/>
          <p:cNvSpPr txBox="1"/>
          <p:nvPr userDrawn="1"/>
        </p:nvSpPr>
        <p:spPr>
          <a:xfrm>
            <a:off x="12434069" y="1001584"/>
            <a:ext cx="206685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Klik op het icoontje </a:t>
            </a:r>
            <a:br>
              <a:rPr lang="nl-NL" sz="1599" kern="0" dirty="0">
                <a:solidFill>
                  <a:srgbClr val="000000"/>
                </a:solidFill>
                <a:latin typeface="Calibri"/>
              </a:rPr>
            </a:br>
            <a:r>
              <a:rPr lang="nl-NL" sz="1599" kern="0" dirty="0">
                <a:solidFill>
                  <a:srgbClr val="000000"/>
                </a:solidFill>
                <a:latin typeface="Calibri"/>
              </a:rPr>
              <a:t>om een nieuwe</a:t>
            </a:r>
          </a:p>
          <a:p>
            <a:pPr>
              <a:defRPr/>
            </a:pPr>
            <a:r>
              <a:rPr lang="nl-NL" sz="1599" kern="0" dirty="0">
                <a:solidFill>
                  <a:srgbClr val="000000"/>
                </a:solidFill>
                <a:latin typeface="Calibri"/>
              </a:rPr>
              <a:t>video in te voegen.</a:t>
            </a:r>
          </a:p>
        </p:txBody>
      </p:sp>
      <p:sp>
        <p:nvSpPr>
          <p:cNvPr id="32" name="Tekstvak 33"/>
          <p:cNvSpPr txBox="1"/>
          <p:nvPr userDrawn="1"/>
        </p:nvSpPr>
        <p:spPr>
          <a:xfrm>
            <a:off x="12434069" y="3359672"/>
            <a:ext cx="2141332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nl-NL"/>
            </a:defPPr>
            <a:lvl1pPr lvl="0">
              <a:defRPr sz="2800">
                <a:solidFill>
                  <a:prstClr val="white">
                    <a:lumMod val="75000"/>
                  </a:prstClr>
                </a:solidFill>
                <a:latin typeface="+mj-lt"/>
                <a:ea typeface="Tahoma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Zoek naar de video die u</a:t>
            </a:r>
          </a:p>
          <a:p>
            <a:pPr>
              <a:defRPr/>
            </a:pPr>
            <a:r>
              <a:rPr lang="nl-NL" sz="1599" kern="0">
                <a:solidFill>
                  <a:srgbClr val="000000"/>
                </a:solidFill>
                <a:latin typeface="Calibri"/>
              </a:rPr>
              <a:t>wilt invoegen en klik op deze. Klik op </a:t>
            </a:r>
            <a:r>
              <a:rPr lang="nl-NL" sz="1599" b="1" kern="0">
                <a:solidFill>
                  <a:schemeClr val="tx2"/>
                </a:solidFill>
                <a:latin typeface="Calibri"/>
              </a:rPr>
              <a:t>´Invoegen´</a:t>
            </a:r>
            <a:endParaRPr lang="nl-NL" sz="1599" b="1" kern="0" dirty="0">
              <a:solidFill>
                <a:schemeClr val="tx2"/>
              </a:solidFill>
              <a:latin typeface="Calibri"/>
            </a:endParaRPr>
          </a:p>
        </p:txBody>
      </p:sp>
      <p:sp>
        <p:nvSpPr>
          <p:cNvPr id="33" name="Ovaal 32"/>
          <p:cNvSpPr/>
          <p:nvPr userDrawn="1"/>
        </p:nvSpPr>
        <p:spPr>
          <a:xfrm>
            <a:off x="12391075" y="505307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1</a:t>
            </a:r>
          </a:p>
        </p:txBody>
      </p:sp>
      <p:sp>
        <p:nvSpPr>
          <p:cNvPr id="34" name="Ovaal 33"/>
          <p:cNvSpPr/>
          <p:nvPr userDrawn="1"/>
        </p:nvSpPr>
        <p:spPr>
          <a:xfrm>
            <a:off x="12391075" y="2826560"/>
            <a:ext cx="401329" cy="401538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lIns="0" tIns="35981" rIns="0" bIns="43178" rtlCol="0" anchor="ctr"/>
          <a:lstStyle/>
          <a:p>
            <a:pPr marL="0" marR="0" lvl="0" indent="0" algn="ctr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59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2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30" t="13535" r="3470" b="13927"/>
          <a:stretch/>
        </p:blipFill>
        <p:spPr bwMode="auto">
          <a:xfrm>
            <a:off x="12431520" y="4272945"/>
            <a:ext cx="1107180" cy="297656"/>
          </a:xfrm>
          <a:prstGeom prst="roundRect">
            <a:avLst>
              <a:gd name="adj" fmla="val 14496"/>
            </a:avLst>
          </a:prstGeom>
          <a:noFill/>
          <a:ln w="6350">
            <a:solidFill>
              <a:srgbClr val="E2AC00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4" t="23401" r="80712" b="21471"/>
          <a:stretch/>
        </p:blipFill>
        <p:spPr bwMode="auto">
          <a:xfrm>
            <a:off x="12500941" y="4313427"/>
            <a:ext cx="791676" cy="226219"/>
          </a:xfrm>
          <a:prstGeom prst="roundRect">
            <a:avLst>
              <a:gd name="adj" fmla="val 14496"/>
            </a:avLst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7" name="Tekstvak 36"/>
          <p:cNvSpPr txBox="1"/>
          <p:nvPr userDrawn="1"/>
        </p:nvSpPr>
        <p:spPr>
          <a:xfrm>
            <a:off x="12513559" y="4299824"/>
            <a:ext cx="779058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nl-NL" sz="1099" b="1" kern="0">
                <a:solidFill>
                  <a:srgbClr val="005634">
                    <a:lumMod val="25000"/>
                  </a:srgbClr>
                </a:solidFill>
                <a:effectLst>
                  <a:outerShdw blurRad="25400" algn="ctr" rotWithShape="0">
                    <a:prstClr val="white"/>
                  </a:outerShdw>
                </a:effectLst>
                <a:latin typeface="Calibri"/>
              </a:rPr>
              <a:t>Invoegen</a:t>
            </a:r>
            <a:endParaRPr lang="nl-NL" sz="1099" b="1" kern="0" dirty="0">
              <a:solidFill>
                <a:srgbClr val="005634">
                  <a:lumMod val="25000"/>
                </a:srgbClr>
              </a:solidFill>
              <a:effectLst>
                <a:outerShdw blurRad="25400" algn="ctr" rotWithShape="0">
                  <a:prstClr val="white"/>
                </a:outerShdw>
              </a:effectLst>
              <a:latin typeface="Calibri"/>
            </a:endParaRPr>
          </a:p>
        </p:txBody>
      </p:sp>
      <p:sp>
        <p:nvSpPr>
          <p:cNvPr id="38" name="Rechthoek 37"/>
          <p:cNvSpPr/>
          <p:nvPr userDrawn="1"/>
        </p:nvSpPr>
        <p:spPr>
          <a:xfrm>
            <a:off x="12260350" y="-26002"/>
            <a:ext cx="2771986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79906" rIns="179906" rtlCol="0" anchor="t"/>
          <a:lstStyle/>
          <a:p>
            <a:pPr marL="0" marR="0" lvl="0" indent="0" defTabSz="9139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799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</a:rPr>
              <a:t>VIDEO INVOEGEN</a:t>
            </a:r>
          </a:p>
        </p:txBody>
      </p:sp>
      <p:cxnSp>
        <p:nvCxnSpPr>
          <p:cNvPr id="39" name="Rechte verbindingslijn 38"/>
          <p:cNvCxnSpPr/>
          <p:nvPr userDrawn="1"/>
        </p:nvCxnSpPr>
        <p:spPr>
          <a:xfrm>
            <a:off x="12403954" y="358984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48" name="Rechte verbindingslijn 47"/>
          <p:cNvCxnSpPr/>
          <p:nvPr userDrawn="1"/>
        </p:nvCxnSpPr>
        <p:spPr>
          <a:xfrm>
            <a:off x="12403615" y="2635400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cxnSp>
        <p:nvCxnSpPr>
          <p:cNvPr id="49" name="Rechte verbindingslijn 48"/>
          <p:cNvCxnSpPr/>
          <p:nvPr userDrawn="1"/>
        </p:nvCxnSpPr>
        <p:spPr>
          <a:xfrm>
            <a:off x="12403954" y="4723632"/>
            <a:ext cx="2314228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pic>
        <p:nvPicPr>
          <p:cNvPr id="51" name="Picture 2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8358" y="1844824"/>
            <a:ext cx="718684" cy="60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jdelijke aanduiding voor media 6">
            <a:extLst>
              <a:ext uri="{FF2B5EF4-FFF2-40B4-BE49-F238E27FC236}">
                <a16:creationId xmlns:a16="http://schemas.microsoft.com/office/drawing/2014/main" id="{5B9AA56D-A154-4681-ABF9-7561BAD19AE7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1" y="0"/>
            <a:ext cx="12185436" cy="6858000"/>
          </a:xfr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169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uw vla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B1426A9B-78E2-43E9-9B36-6878941DF2E0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Lichtblauw vlak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E9D509D-4032-4CC6-A961-861B4436A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01" y="594860"/>
            <a:ext cx="11046684" cy="1944216"/>
          </a:xfrm>
        </p:spPr>
        <p:txBody>
          <a:bodyPr anchor="b"/>
          <a:lstStyle>
            <a:lvl1pPr>
              <a:defRPr sz="5997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264F5B18-5CB1-45BA-8A88-65FC855B93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1203" y="2454002"/>
            <a:ext cx="11049595" cy="2343150"/>
          </a:xfrm>
        </p:spPr>
        <p:txBody>
          <a:bodyPr/>
          <a:lstStyle>
            <a:lvl1pPr marL="0" indent="0">
              <a:buNone/>
              <a:defRPr sz="5997">
                <a:solidFill>
                  <a:schemeClr val="bg1"/>
                </a:solidFill>
                <a:latin typeface="+mj-lt"/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31090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B1426A9B-78E2-43E9-9B36-6878941DF2E0}"/>
              </a:ext>
            </a:extLst>
          </p:cNvPr>
          <p:cNvSpPr/>
          <p:nvPr userDrawn="1"/>
        </p:nvSpPr>
        <p:spPr>
          <a:xfrm>
            <a:off x="0" y="-531440"/>
            <a:ext cx="6096000" cy="3873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lvl="0"/>
            <a:r>
              <a:rPr lang="nl-NL" sz="1399" b="0" spc="0" baseline="0" dirty="0">
                <a:solidFill>
                  <a:schemeClr val="accent2"/>
                </a:solidFill>
                <a:latin typeface="+mj-lt"/>
              </a:rPr>
              <a:t>Leeg</a:t>
            </a:r>
          </a:p>
        </p:txBody>
      </p:sp>
    </p:spTree>
    <p:extLst>
      <p:ext uri="{BB962C8B-B14F-4D97-AF65-F5344CB8AC3E}">
        <p14:creationId xmlns:p14="http://schemas.microsoft.com/office/powerpoint/2010/main" val="174154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BB9E89-DD1C-406E-92F8-FD2CF734D4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5264CBD-5BDF-4BEC-A402-FC5EA6DB90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15444F5-124D-408F-BD27-63C0A3EC6D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09462" y="6356350"/>
            <a:ext cx="1323109" cy="365125"/>
          </a:xfrm>
          <a:prstGeom prst="rect">
            <a:avLst/>
          </a:prstGeom>
        </p:spPr>
        <p:txBody>
          <a:bodyPr/>
          <a:lstStyle/>
          <a:p>
            <a:fld id="{55B498AE-0BCC-42CD-BC76-E5AFC3E110C0}" type="datetime1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7B0D3E6-0C98-4B6E-A9E7-ADEC08CE3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www.jeleefstijlalsmedicijn.n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03BE519-096A-4125-8C99-09306223E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38835-4D53-4C43-B0C5-A9D0803CD79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041848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6404290-C0BE-4BF2-953F-450BEA2AA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www.jeleefstijlalsmedicijn.nl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B80FB10-DA00-4CCB-B3A1-15ABA045C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038835-4D53-4C43-B0C5-A9D0803CD79A}" type="slidenum">
              <a:rPr lang="nl-NL" smtClean="0"/>
              <a:t>‹nr.›</a:t>
            </a:fld>
            <a:endParaRPr lang="nl-NL"/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A098BCED-53FA-4209-BFF5-956D696C4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42713" y="6356350"/>
            <a:ext cx="1323109" cy="365125"/>
          </a:xfrm>
          <a:prstGeom prst="rect">
            <a:avLst/>
          </a:prstGeom>
        </p:spPr>
        <p:txBody>
          <a:bodyPr/>
          <a:lstStyle/>
          <a:p>
            <a:fld id="{55B498AE-0BCC-42CD-BC76-E5AFC3E110C0}" type="datetime1">
              <a:rPr lang="nl-NL" smtClean="0"/>
              <a:t>13-6-202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2074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C73475-223D-A640-B44E-E2F3E6BBD0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7A307AD-37E5-F707-68A2-482A7458A7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DFDE7DB-8AFD-2A7E-A172-5BCE5FED99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79F7087-BE3C-F6DC-3B27-19505A624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2E32059-4A20-BC57-1AA4-B69E72745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9233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2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6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871200" y="6464325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5B303-A78F-4FD6-8E77-FCD9BA46D0D0}" type="slidenum">
              <a:rPr kumimoji="0" lang="de-DE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8A618"/>
                </a:solidFill>
                <a:effectLst/>
                <a:uLnTx/>
                <a:uFillTx/>
                <a:latin typeface="Ubuntu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</p:txBody>
      </p:sp>
      <p:pic>
        <p:nvPicPr>
          <p:cNvPr id="7" name="Picture 14" descr="BENU Uplift Bar LONG BAR RGB.em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" y="6453188"/>
            <a:ext cx="1108921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BENU Uplift Bar SHORT BAR RGB.emf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13650" y="6531000"/>
            <a:ext cx="478367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Afbeelding 13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3936" y="49213"/>
            <a:ext cx="162771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ondertitelstijl van het model te bewerken</a:t>
            </a:r>
          </a:p>
        </p:txBody>
      </p:sp>
      <p:sp>
        <p:nvSpPr>
          <p:cNvPr id="10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fld id="{ED169701-FD15-44EA-A8C7-B197ED18C1B1}" type="datetimeFigureOut">
              <a:rPr lang="nl-NL" smtClean="0"/>
              <a:pPr defTabSz="914400">
                <a:defRPr/>
              </a:pPr>
              <a:t>13-6-2024</a:t>
            </a:fld>
            <a:endParaRPr lang="nl-NL"/>
          </a:p>
        </p:txBody>
      </p:sp>
      <p:sp>
        <p:nvSpPr>
          <p:cNvPr id="11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165600" y="6356375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endParaRPr lang="nl-NL"/>
          </a:p>
        </p:txBody>
      </p:sp>
      <p:sp>
        <p:nvSpPr>
          <p:cNvPr id="12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737600" y="6356375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fld id="{FA832DED-47EE-4E1C-8AB8-B541A7C428A1}" type="slidenum">
              <a:rPr lang="nl-NL" smtClean="0"/>
              <a:pPr defTabSz="914400"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18405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4D80AD-52A9-185C-50A3-0FF1C6E44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BCC2B3A-3888-4184-B762-71B99A7895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5AD5F35-D1C6-C60C-BDD5-DB031F410A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94FA8BC-0983-459B-8A32-CB95282AD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8E38BC0-10AA-3929-99FE-9AAC670AE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58770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A401C3-6B3A-B28D-C43E-DBE507953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A7E2EB6-7DE3-9EDB-A756-A2E09E8F0E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1893D1F-A76C-A7CD-ACDF-15686B0FD1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4750D0-D993-ADEF-BA3F-48A1E1A02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9EA963E-0811-8320-6459-CCB84AEBB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4688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062B20-E4A1-D708-B38E-CA811A329D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CAF1B4C-79F1-57F3-4AEC-F75F545277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47ADA4F-8A43-9AD8-8AC1-A95A031BD58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4092F9C-780B-117E-B93F-0A36109D93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E2B3E2F-9F7F-BEF6-F79C-F3732CC9F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140704D-2EB8-A3AD-AE20-C8C034404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921931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08CF98-CA44-8A3D-9DBF-406E98511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5B63B5-1339-2FD0-E691-991F7142E1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BE010F7-9E76-DD9E-D670-EA830BB2DC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ED8F3F1-077C-31DF-4953-218CD25CFA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B52BB8BB-6606-FF79-030C-15E1BC5BB9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1142CCF6-0F57-F035-9F6E-6FF91F2DA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97E50A5F-044A-1F0A-F84E-9A89F1478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267DEF9A-C415-21B0-7070-42BB6BDC1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589338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27BB6A-92ED-0771-A57B-8EA6EF41F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697B1E7D-70F8-3AD8-3E59-4FC50DDE90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9448684-0872-D519-F8CE-2934EC120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021003F-3A01-0D70-5C75-0F012196A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63602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821F7779-3207-CE3B-E959-C4191B4440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9054EF04-8045-28E9-262C-E97A2FE42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BEDA2A1-86C5-760B-0CFD-0586DF269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50004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03DE0-C517-78CC-9095-E1AF0414F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B8137D7-8FD0-EEF1-E845-3A3F2FBB0A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DA5F5C2-8677-A9D0-01B3-94F8ED904C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9C98012-C39D-45DE-1E31-1AB6E4E3F5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69CA6BD-D6B5-E46D-C7B6-DFA864750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8C01953-E56C-C6E9-295A-F78098F7A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53992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74D33E-B650-33CD-B1FB-D6DD500D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A72BBD5F-472C-3384-A817-24638D8A7AA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7AA292E-7599-99B7-13C3-C542D20DE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AC6F02C-501D-4986-8FDF-C41F83E02B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B37E6A6-5621-F1B9-071A-1EC2054CD0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2755A8B-4112-EF71-8BAB-D9AFCA4B4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07996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F2C5E1-14D5-289D-D979-875BE9841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6BE71D1E-6B67-0F85-0F48-0E83706AE4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66AD4C6-CEB0-BBEE-3E6B-AE66FC92F0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7D88577-929A-F813-A6EC-C920A995B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BDB8CF-1039-4031-D720-C73D2E2D1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847863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2FE5DCA2-7A38-F77E-1DE5-DF75FCA03C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0D2737B-D78F-C079-7AD9-13FABAA26C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E6A654E-CF72-8977-88C9-9168733BB9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75203B3-DFC2-487E-A795-302447EA0F64}" type="datetimeFigureOut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2EE9DFE-D172-834B-3EBD-118EFD694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A064E51-D111-C1D8-5A86-B6ECFC6B87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83AE0DD-F877-434B-B084-CEF501AFF5C4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4367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2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7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871200" y="6464325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B5DBE6-0AD7-46BA-BE63-E05A74AFB6A6}" type="slidenum">
              <a:rPr kumimoji="0" lang="de-DE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8A618"/>
                </a:solidFill>
                <a:effectLst/>
                <a:uLnTx/>
                <a:uFillTx/>
                <a:latin typeface="Ubuntu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</p:txBody>
      </p:sp>
      <p:pic>
        <p:nvPicPr>
          <p:cNvPr id="8" name="Picture 14" descr="BENU Uplift Bar LONG BAR RGB.em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" y="6453188"/>
            <a:ext cx="1108921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BENU Uplift Bar SHORT BAR RGB.emf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13650" y="6531000"/>
            <a:ext cx="478367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Afbeelding 13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3936" y="49213"/>
            <a:ext cx="162771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1" name="Tijdelijke aanduiding voor datum 4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fld id="{A8B6C271-ADC1-46F6-8A9E-E233A3CAB1EC}" type="datetimeFigureOut">
              <a:rPr lang="nl-NL" smtClean="0"/>
              <a:pPr defTabSz="914400">
                <a:defRPr/>
              </a:pPr>
              <a:t>13-6-2024</a:t>
            </a:fld>
            <a:endParaRPr lang="nl-NL"/>
          </a:p>
        </p:txBody>
      </p:sp>
      <p:sp>
        <p:nvSpPr>
          <p:cNvPr id="12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4165600" y="6356375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endParaRPr lang="nl-NL"/>
          </a:p>
        </p:txBody>
      </p:sp>
      <p:sp>
        <p:nvSpPr>
          <p:cNvPr id="13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8737600" y="6356375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defTabSz="914400">
              <a:defRPr/>
            </a:pPr>
            <a:fld id="{05412C83-2ED5-4A7C-BFA8-72495B875A79}" type="slidenum">
              <a:rPr lang="nl-NL" smtClean="0"/>
              <a:pPr defTabSz="914400"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418747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637135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0" y="5359400"/>
            <a:ext cx="5664000" cy="565899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80000" tIns="180000" rIns="180000" bIns="180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Enter your cap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3D119C-DBF5-4B4F-BE38-7BD7B5C8A5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51A1E-902D-48AF-9020-955120F399B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8E7C83-06D7-4C5B-85B7-0E5713B4F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164209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74825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DEBF36F-ADC5-48FF-BFAF-3BED06924F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287" y="723851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304925"/>
            <a:ext cx="5472000" cy="48870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867C73D-EE16-41D1-B7CE-A35C765E3B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1304925"/>
            <a:ext cx="5472113" cy="4886325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ndara"/>
                <a:ea typeface="+mn-ea"/>
                <a:cs typeface="+mn-cs"/>
              </a:rPr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B51A1E-902D-48AF-9020-955120F399B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6122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gulier / opsomming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ln w="3175">
            <a:noFill/>
            <a:prstDash val="sysDot"/>
          </a:ln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672000" y="6429645"/>
            <a:ext cx="8880000" cy="192000"/>
          </a:xfrm>
          <a:ln w="3175">
            <a:noFill/>
            <a:prstDash val="solid"/>
          </a:ln>
        </p:spPr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ln w="3175">
            <a:noFill/>
            <a:prstDash val="sysDot"/>
          </a:ln>
        </p:spPr>
        <p:txBody>
          <a:bodyPr/>
          <a:lstStyle/>
          <a:p>
            <a:fld id="{5E351446-36E0-4030-ADF0-3D1CBEC8B63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72000" y="360000"/>
            <a:ext cx="9264000" cy="4140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72000" y="1044000"/>
            <a:ext cx="11184000" cy="51480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8978095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elteks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57" name="Hoofdtekst - niveau één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2" name="Dianummer">
            <a:extLst>
              <a:ext uri="{FF2B5EF4-FFF2-40B4-BE49-F238E27FC236}">
                <a16:creationId xmlns:a16="http://schemas.microsoft.com/office/drawing/2014/main" id="{F038AED8-B44C-EDDD-2CBA-355B6D7E53B3}"/>
              </a:ext>
            </a:extLst>
          </p:cNvPr>
          <p:cNvSpPr txBox="1"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0B553D-D0B2-47BC-877C-6098B88B4594}" type="slidenum">
              <a:rPr/>
              <a:pPr>
                <a:defRPr/>
              </a:pPr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0521624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nl-NL" dirty="0"/>
              <a:t>Klik om titel in te voeg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6743700" y="-22084"/>
            <a:ext cx="4284133" cy="265113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Titel cursus</a:t>
            </a:r>
          </a:p>
        </p:txBody>
      </p:sp>
    </p:spTree>
    <p:extLst>
      <p:ext uri="{BB962C8B-B14F-4D97-AF65-F5344CB8AC3E}">
        <p14:creationId xmlns:p14="http://schemas.microsoft.com/office/powerpoint/2010/main" val="32590387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9780588" cy="6804025"/>
          </a:xfrm>
          <a:solidFill>
            <a:schemeClr val="bg1">
              <a:lumMod val="85000"/>
            </a:schemeClr>
          </a:solidFill>
        </p:spPr>
        <p:txBody>
          <a:bodyPr tIns="1728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00400" y="2811054"/>
            <a:ext cx="8991600" cy="1261295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Click to edit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00401" y="4061040"/>
            <a:ext cx="6580188" cy="580921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vert="horz" lIns="180000" tIns="180000" rIns="180000" bIns="180000" rtlCol="0">
            <a:noAutofit/>
          </a:bodyPr>
          <a:lstStyle>
            <a:lvl1pPr marL="0" indent="0" algn="r">
              <a:buNone/>
              <a:defRPr lang="en-ZA" dirty="0">
                <a:solidFill>
                  <a:schemeClr val="bg1"/>
                </a:solidFill>
              </a:defRPr>
            </a:lvl1pPr>
          </a:lstStyle>
          <a:p>
            <a:pPr marL="266693" lvl="0" indent="-266693" algn="ctr"/>
            <a:r>
              <a:rPr lang="nl-NL" noProof="0"/>
              <a:t>Klik om de ondertitelstijl van het model te bewerken</a:t>
            </a:r>
            <a:endParaRPr lang="en-US" noProof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0FBB1B-4F0E-4365-BF27-3150FC6C3B90}"/>
              </a:ext>
            </a:extLst>
          </p:cNvPr>
          <p:cNvSpPr/>
          <p:nvPr userDrawn="1"/>
        </p:nvSpPr>
        <p:spPr>
          <a:xfrm>
            <a:off x="9780105" y="6803353"/>
            <a:ext cx="2411897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13D8A8-6C3D-4527-959D-41C3213F7F02}"/>
              </a:ext>
            </a:extLst>
          </p:cNvPr>
          <p:cNvSpPr/>
          <p:nvPr userDrawn="1"/>
        </p:nvSpPr>
        <p:spPr>
          <a:xfrm>
            <a:off x="0" y="6803351"/>
            <a:ext cx="9780104" cy="546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9780589" y="2698612"/>
            <a:ext cx="2411412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0105" y="4383500"/>
            <a:ext cx="2411897" cy="241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618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11413" y="2"/>
            <a:ext cx="9780588" cy="637135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</a:t>
            </a:r>
            <a:br>
              <a:rPr lang="en-US" noProof="0" dirty="0"/>
            </a:br>
            <a:r>
              <a:rPr lang="en-US" noProof="0" dirty="0"/>
              <a:t>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2081225"/>
            <a:ext cx="5956300" cy="1944000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 dirty="0"/>
              <a:t>Click to edit section divid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E4D4535-D519-40ED-B8A4-2EA1276BB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025226"/>
            <a:ext cx="5956300" cy="1100565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lIns="180000" tIns="180000" rIns="252000" bIns="180000"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marL="266693" indent="0" algn="r">
              <a:buNone/>
              <a:defRPr sz="1800">
                <a:solidFill>
                  <a:schemeClr val="bg1"/>
                </a:solidFill>
              </a:defRPr>
            </a:lvl2pPr>
            <a:lvl3pPr marL="542912" indent="0" algn="r">
              <a:buNone/>
              <a:defRPr sz="1800">
                <a:solidFill>
                  <a:schemeClr val="bg1"/>
                </a:solidFill>
              </a:defRPr>
            </a:lvl3pPr>
            <a:lvl4pPr marL="809605" indent="0" algn="r">
              <a:buNone/>
              <a:defRPr sz="1800">
                <a:solidFill>
                  <a:schemeClr val="bg1"/>
                </a:solidFill>
              </a:defRPr>
            </a:lvl4pPr>
            <a:lvl5pPr marL="1076298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6FE98-6A12-44EC-8485-8B5EFABDF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4009541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11413" y="2"/>
            <a:ext cx="9780588" cy="637135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</a:t>
            </a:r>
            <a:br>
              <a:rPr lang="en-US" noProof="0" dirty="0"/>
            </a:br>
            <a:r>
              <a:rPr lang="en-US" noProof="0" dirty="0"/>
              <a:t>your Photo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473AB13-DFF9-4538-9907-E261659E0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700" y="2156227"/>
            <a:ext cx="5958000" cy="1958400"/>
          </a:xfrm>
          <a:solidFill>
            <a:schemeClr val="bg1"/>
          </a:solidFill>
        </p:spPr>
        <p:txBody>
          <a:bodyPr lIns="252000" tIns="180000" rIns="180000" bIns="180000"/>
          <a:lstStyle>
            <a:lvl1pPr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noProof="0"/>
              <a:t>Click to edit section divid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E4D4535-D519-40ED-B8A4-2EA1276BB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4110760"/>
            <a:ext cx="5956300" cy="1100565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lIns="252000" tIns="180000" rIns="180000" bIns="18000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266693" indent="0" algn="r">
              <a:buNone/>
              <a:defRPr sz="1800">
                <a:solidFill>
                  <a:schemeClr val="bg1"/>
                </a:solidFill>
              </a:defRPr>
            </a:lvl2pPr>
            <a:lvl3pPr marL="542912" indent="0" algn="r">
              <a:buNone/>
              <a:defRPr sz="1800">
                <a:solidFill>
                  <a:schemeClr val="bg1"/>
                </a:solidFill>
              </a:defRPr>
            </a:lvl3pPr>
            <a:lvl4pPr marL="809605" indent="0" algn="r">
              <a:buNone/>
              <a:defRPr sz="1800">
                <a:solidFill>
                  <a:schemeClr val="bg1"/>
                </a:solidFill>
              </a:defRPr>
            </a:lvl4pPr>
            <a:lvl5pPr marL="1076298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6FE98-6A12-44EC-8485-8B5EFABDF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0EF489-F21B-4E7C-9A44-D3CC8DC3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22819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5"/>
            <a:ext cx="5472000" cy="2999427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9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42931717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mag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101" y="1869797"/>
            <a:ext cx="6641900" cy="112434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algn="l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18333" y="2994141"/>
            <a:ext cx="6641627" cy="590155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lIns="180000" tIns="180000" rIns="180000" bIns="18000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8000" y="3763650"/>
            <a:ext cx="5472000" cy="24283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5285E0-8F27-49C4-AADF-92A3B72D41FD}"/>
              </a:ext>
            </a:extLst>
          </p:cNvPr>
          <p:cNvSpPr/>
          <p:nvPr userDrawn="1"/>
        </p:nvSpPr>
        <p:spPr>
          <a:xfrm>
            <a:off x="9775826" y="1762069"/>
            <a:ext cx="1984175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9732" y="6373477"/>
            <a:ext cx="462269" cy="4845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2"/>
                </a:solidFill>
                <a:latin typeface="+mj-lt"/>
              </a:defRPr>
            </a:lvl1pPr>
          </a:lstStyle>
          <a:p>
            <a:fld id="{19B51A1E-902D-48AF-9020-955120F399B6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440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0864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000" y="161589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4633398-8EC3-417B-BEA6-101D8F2246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489" y="686137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mparison Left Placeholder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307689"/>
            <a:ext cx="5472000" cy="3600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 noProof="0"/>
              <a:t>Tekststijl van het model bewerke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2815037"/>
            <a:ext cx="5472000" cy="33769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2" name="Comparison Left Placeholder 2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0" y="2308215"/>
            <a:ext cx="5472000" cy="358775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nl-NL" noProof="0"/>
              <a:t>Tekststijl van het model bewerke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A5256-B267-47DA-858A-0F3867CB61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9" y="2812215"/>
            <a:ext cx="5472113" cy="3379036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33E7E-50D2-4F6C-9DF2-CF4C98C4B8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Rectangle 9" descr="Accent block left">
            <a:extLst>
              <a:ext uri="{FF2B5EF4-FFF2-40B4-BE49-F238E27FC236}">
                <a16:creationId xmlns:a16="http://schemas.microsoft.com/office/drawing/2014/main" id="{BBC0CAF5-0DE6-4BEA-824E-124A54A76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2" y="2100317"/>
            <a:ext cx="1984175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11" name="Rectangle 10" descr="Accent bar right&#10;">
            <a:extLst>
              <a:ext uri="{FF2B5EF4-FFF2-40B4-BE49-F238E27FC236}">
                <a16:creationId xmlns:a16="http://schemas.microsoft.com/office/drawing/2014/main" id="{ED008080-B2F5-441A-8B15-30AE86BB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99889" y="2100317"/>
            <a:ext cx="1984175" cy="1148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42736925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"/>
            <a:ext cx="12192000" cy="637135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0" y="5359401"/>
            <a:ext cx="5664000" cy="565899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80000" tIns="180000" rIns="180000" bIns="180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Enter your cap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3D119C-DBF5-4B4F-BE38-7BD7B5C8A5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8E7C83-06D7-4C5B-85B7-0E5713B4F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31175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9780103" cy="6804025"/>
          </a:xfrm>
          <a:solidFill>
            <a:schemeClr val="bg1">
              <a:lumMod val="85000"/>
            </a:schemeClr>
          </a:solidFill>
        </p:spPr>
        <p:txBody>
          <a:bodyPr tIns="0"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58200" y="2798355"/>
            <a:ext cx="3733800" cy="1013684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Thank You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A7FC9-E40E-4144-84E4-34E3722E9A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8201" y="3957705"/>
            <a:ext cx="2910343" cy="316800"/>
          </a:xfrm>
          <a:solidFill>
            <a:schemeClr val="accent1">
              <a:lumMod val="20000"/>
              <a:lumOff val="80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7289182-4FE6-4A18-9775-4588D5801C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58201" y="4306723"/>
            <a:ext cx="2910343" cy="316800"/>
          </a:xfrm>
          <a:solidFill>
            <a:schemeClr val="accent1">
              <a:lumMod val="20000"/>
              <a:lumOff val="80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D4E94C7-6CAF-4FEE-9E02-D3D3A2AC5E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8201" y="4655739"/>
            <a:ext cx="2910343" cy="316800"/>
          </a:xfrm>
          <a:solidFill>
            <a:schemeClr val="accent1">
              <a:lumMod val="20000"/>
              <a:lumOff val="80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 dirty="0"/>
              <a:t>Email or Social Media Hand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DE421A3-3C59-48FC-BC3B-007ADFBEB4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58201" y="5004756"/>
            <a:ext cx="2910343" cy="316800"/>
          </a:xfrm>
          <a:solidFill>
            <a:schemeClr val="accent1">
              <a:lumMod val="20000"/>
              <a:lumOff val="80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Company Web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8458200" y="2685912"/>
            <a:ext cx="3733800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FB6A7-1E80-487C-93E6-DCAA8751EF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93550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97A9A62-1AA6-47A9-A1A0-54196823744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E0EB3-0FF4-4285-B9D3-90A5751B7B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E0AAD-6FBD-416B-A91A-21F2B737919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1846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74825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7DEBF36F-ADC5-48FF-BFAF-3BED06924FD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2289" y="723851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304925"/>
            <a:ext cx="5472000" cy="48870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867C73D-EE16-41D1-B7CE-A35C765E3B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9" y="1304926"/>
            <a:ext cx="5472113" cy="4886325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00941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94EB5D3-F8CB-4E76-8D7E-FF441818EE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12000"/>
            <a:ext cx="3600000" cy="46792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01549" y="1511477"/>
            <a:ext cx="3600451" cy="4679249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1549" y="1511475"/>
            <a:ext cx="3600451" cy="4679251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4BCA97-F31B-451D-82F8-6E000DF2118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7AAC4-A657-4D75-A527-0307AFF2B17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46511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731" y="184351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D7ACCB5-9A86-4F46-89E2-B79F48C9EC1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512000"/>
            <a:ext cx="2160000" cy="46792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26413" y="1512000"/>
            <a:ext cx="2160588" cy="4679251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1413" y="1512000"/>
            <a:ext cx="2160588" cy="4679251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6413" y="1507534"/>
            <a:ext cx="2160588" cy="4679251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1413" y="1507536"/>
            <a:ext cx="2160588" cy="4683715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09234E-176D-4BBF-9391-7B6F018C51A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ABD5E-B8F1-4246-B167-09138760AD7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90169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00400" y="2811054"/>
            <a:ext cx="8991600" cy="1261295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Click to edit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00401" y="4061040"/>
            <a:ext cx="6580188" cy="580921"/>
          </a:xfrm>
          <a:solidFill>
            <a:schemeClr val="tx1">
              <a:alpha val="80000"/>
            </a:schemeClr>
          </a:solidFill>
        </p:spPr>
        <p:txBody>
          <a:bodyPr vert="horz" lIns="180000" tIns="180000" rIns="180000" bIns="180000" rtlCol="0">
            <a:noAutofit/>
          </a:bodyPr>
          <a:lstStyle>
            <a:lvl1pPr marL="0" indent="0" algn="r">
              <a:buNone/>
              <a:defRPr lang="en-ZA" dirty="0">
                <a:solidFill>
                  <a:schemeClr val="bg1"/>
                </a:solidFill>
              </a:defRPr>
            </a:lvl1pPr>
          </a:lstStyle>
          <a:p>
            <a:pPr marL="266693" lvl="0" indent="-266693" algn="ctr"/>
            <a:r>
              <a:rPr lang="nl-NL" noProof="0"/>
              <a:t>Klik om de ondertitelstijl van het model te bewerken</a:t>
            </a:r>
            <a:endParaRPr lang="en-US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9780589" y="2698612"/>
            <a:ext cx="2411412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</p:spTree>
    <p:extLst>
      <p:ext uri="{BB962C8B-B14F-4D97-AF65-F5344CB8AC3E}">
        <p14:creationId xmlns:p14="http://schemas.microsoft.com/office/powerpoint/2010/main" val="29003430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73AB13-DFF9-4538-9907-E261659E0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700" y="2156227"/>
            <a:ext cx="5958000" cy="1958400"/>
          </a:xfrm>
          <a:solidFill>
            <a:schemeClr val="bg1"/>
          </a:solidFill>
        </p:spPr>
        <p:txBody>
          <a:bodyPr lIns="252000" tIns="180000" rIns="180000" bIns="180000"/>
          <a:lstStyle>
            <a:lvl1pPr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noProof="0"/>
              <a:t>Click to edit section divider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6FE98-6A12-44EC-8485-8B5EFABDF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0EF489-F21B-4E7C-9A44-D3CC8DC3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B95064-E6BF-43CD-ACBD-6363E8D9BF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" y="4114627"/>
            <a:ext cx="5956300" cy="1095056"/>
          </a:xfrm>
          <a:solidFill>
            <a:schemeClr val="accent1">
              <a:lumMod val="20000"/>
              <a:lumOff val="80000"/>
              <a:alpha val="80000"/>
            </a:schemeClr>
          </a:solidFill>
        </p:spPr>
        <p:txBody>
          <a:bodyPr vert="horz" lIns="252000" tIns="180000" rIns="180000" bIns="180000" rtlCol="0">
            <a:noAutofit/>
          </a:bodyPr>
          <a:lstStyle>
            <a:lvl1pPr marL="0" indent="0" algn="l"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266693" lvl="0" indent="-266693"/>
            <a:r>
              <a:rPr lang="nl-NL" noProof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7603430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5891"/>
            <a:ext cx="10749639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008000"/>
            <a:ext cx="11328000" cy="51832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FE0EB3-0FF4-4285-B9D3-90A5751B7BB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E0AAD-6FBD-416B-A91A-21F2B737919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172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marque tinted CUT.ep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868" y="-314325"/>
            <a:ext cx="13514917" cy="752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2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239185" y="620713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pic>
        <p:nvPicPr>
          <p:cNvPr id="7" name="Picture 12" descr="BENU_logo_SCREEN.eps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13350" y="711200"/>
            <a:ext cx="2554817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16x9 uplift bar cmyk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486400"/>
            <a:ext cx="11887200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424580" y="1988871"/>
            <a:ext cx="8888785" cy="15544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4000" b="1" i="0">
                <a:solidFill>
                  <a:srgbClr val="58A618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32"/>
          <p:cNvSpPr>
            <a:spLocks noGrp="1"/>
          </p:cNvSpPr>
          <p:nvPr>
            <p:ph type="body" sz="quarter" idx="18"/>
          </p:nvPr>
        </p:nvSpPr>
        <p:spPr>
          <a:xfrm>
            <a:off x="449637" y="4095746"/>
            <a:ext cx="7925599" cy="413409"/>
          </a:xfrm>
          <a:prstGeom prst="rect">
            <a:avLst/>
          </a:prstGeom>
        </p:spPr>
        <p:txBody>
          <a:bodyPr/>
          <a:lstStyle>
            <a:lvl1pPr>
              <a:lnSpc>
                <a:spcPts val="1680"/>
              </a:lnSpc>
              <a:spcBef>
                <a:spcPts val="0"/>
              </a:spcBef>
              <a:buNone/>
              <a:defRPr sz="1800" b="1" i="0">
                <a:solidFill>
                  <a:srgbClr val="002664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0531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653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E1E0B79-3CC8-4DCF-8AEC-AC43BC9A30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885" y="1007252"/>
            <a:ext cx="5460115" cy="5169713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5546508-E26C-46CD-8939-D20E71BF4E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007252"/>
            <a:ext cx="5448115" cy="5169713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983599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Rectangle 10" descr="Accent block left">
            <a:extLst>
              <a:ext uri="{FF2B5EF4-FFF2-40B4-BE49-F238E27FC236}">
                <a16:creationId xmlns:a16="http://schemas.microsoft.com/office/drawing/2014/main" id="{48A1A904-FE62-4BE3-BAE9-0EEAE7B1E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2" y="1016231"/>
            <a:ext cx="1984175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12" name="Rectangle 11" descr="Accent bar right&#10;">
            <a:extLst>
              <a:ext uri="{FF2B5EF4-FFF2-40B4-BE49-F238E27FC236}">
                <a16:creationId xmlns:a16="http://schemas.microsoft.com/office/drawing/2014/main" id="{3E8A46E0-47C2-4441-B7DD-F621A80F1F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99889" y="1016231"/>
            <a:ext cx="1984175" cy="1148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902C307-6561-4E11-9899-1F34830AE8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1224130"/>
            <a:ext cx="5448115" cy="3587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 noProof="0"/>
              <a:t>Tekststijl van het model bewerken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D73439B-6B1B-47C5-B2B0-409015FB33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2085" y="1224130"/>
            <a:ext cx="5447915" cy="3587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 noProof="0"/>
              <a:t>Tekststijl van het model bewerken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12AC6878-44C6-4445-A225-70C0DC482E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9885" y="1955731"/>
            <a:ext cx="5447915" cy="4233932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6D675DA8-374F-4915-973A-53612A41FF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800" y="1943031"/>
            <a:ext cx="5447915" cy="4246632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436218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1"/>
            <a:ext cx="3932037" cy="141127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Rectangle 10" descr="Accent block left">
            <a:extLst>
              <a:ext uri="{FF2B5EF4-FFF2-40B4-BE49-F238E27FC236}">
                <a16:creationId xmlns:a16="http://schemas.microsoft.com/office/drawing/2014/main" id="{48A1A904-FE62-4BE3-BAE9-0EEAE7B1E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2" y="1892927"/>
            <a:ext cx="1984175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5B68CA9-AC4C-4D15-9BA1-A9F1AC5606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88816" y="432001"/>
            <a:ext cx="6971184" cy="542905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US" noProof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9B24D8A-D8A5-4F57-A260-A4CF75FCB3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2000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 noProof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5832709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1"/>
            <a:ext cx="3932037" cy="141127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CFC6C-1D8B-46C9-B0F7-A8BD88D8AB4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Rectangle 10" descr="Accent block left">
            <a:extLst>
              <a:ext uri="{FF2B5EF4-FFF2-40B4-BE49-F238E27FC236}">
                <a16:creationId xmlns:a16="http://schemas.microsoft.com/office/drawing/2014/main" id="{48A1A904-FE62-4BE3-BAE9-0EEAE7B1E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2" y="1892927"/>
            <a:ext cx="1984175" cy="114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800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E50A411-2E68-4F4D-B4BC-62E87C6336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2000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 noProof="0"/>
              <a:t>Tekststijl van het model bewerken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FBF39A8-0BD5-48FD-9993-F595D4F727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788816" y="432001"/>
            <a:ext cx="6971184" cy="5429051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nl-NL" noProof="0"/>
              <a:t>Klik op het pictogram als u een afbeelding wilt toevoe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76679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0727B06-56A8-44A2-B6C2-9ED183D107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1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693" indent="0">
              <a:buNone/>
              <a:defRPr/>
            </a:lvl2pPr>
            <a:lvl3pPr marL="542912" indent="0">
              <a:buNone/>
              <a:defRPr/>
            </a:lvl3pPr>
            <a:lvl4pPr marL="809605" indent="0">
              <a:buNone/>
              <a:defRPr/>
            </a:lvl4pPr>
            <a:lvl5pPr marL="1076298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B8C2-B6A2-4C69-8D3A-57420A034B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3CF994-8B2C-443F-B695-7378DD360D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39097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694D9D-C633-4D52-965E-E5BBD9883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915026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694D9D-C633-4D52-965E-E5BBD98830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2" y="191525"/>
            <a:ext cx="10749639" cy="432000"/>
          </a:xfrm>
        </p:spPr>
        <p:txBody>
          <a:bodyPr/>
          <a:lstStyle/>
          <a:p>
            <a:r>
              <a:rPr lang="nl-NL" noProof="0"/>
              <a:t>Klik om de stijl te bewerken</a:t>
            </a:r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B3A426-6D4A-4D91-ACD6-A2C25BAE44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64370" y="2033589"/>
            <a:ext cx="8863263" cy="2790825"/>
          </a:xfrm>
        </p:spPr>
        <p:txBody>
          <a:bodyPr anchor="ctr"/>
          <a:lstStyle>
            <a:lvl1pPr marL="0" indent="0" algn="ctr">
              <a:buNone/>
              <a:defRPr sz="6000"/>
            </a:lvl1pPr>
            <a:lvl2pPr marL="266693" indent="0">
              <a:buNone/>
              <a:defRPr/>
            </a:lvl2pPr>
          </a:lstStyle>
          <a:p>
            <a:pPr lvl="0"/>
            <a:r>
              <a:rPr lang="nl-NL" noProof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4490728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D0504D-4610-4E9E-A2DB-8B701F044BB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000" y="6301151"/>
            <a:ext cx="5664000" cy="29506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5CDFA7-DEA3-4BBE-8D70-0AF654A1E6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68539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 (met bee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5" descr="marque tinted CUT.ep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78" r="16617" b="4663"/>
          <a:stretch/>
        </p:blipFill>
        <p:spPr bwMode="auto">
          <a:xfrm>
            <a:off x="922868" y="0"/>
            <a:ext cx="112691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720000" y="1316569"/>
            <a:ext cx="7296213" cy="2052000"/>
          </a:xfrm>
        </p:spPr>
        <p:txBody>
          <a:bodyPr wrap="square" bIns="36000" anchor="t" anchorCtr="0"/>
          <a:lstStyle>
            <a:lvl1pPr>
              <a:defRPr sz="3200" b="1">
                <a:solidFill>
                  <a:schemeClr val="accent3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20000" y="3528000"/>
            <a:ext cx="7296213" cy="1188000"/>
          </a:xfrm>
        </p:spPr>
        <p:txBody>
          <a:bodyPr tIns="36000"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accent2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nl-NL" dirty="0"/>
          </a:p>
        </p:txBody>
      </p:sp>
      <p:sp>
        <p:nvSpPr>
          <p:cNvPr id="10" name="Line 2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18" y="840317"/>
            <a:ext cx="11857567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2664"/>
              </a:solidFill>
            </a:endParaRP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484" y="1120058"/>
            <a:ext cx="2925139" cy="828791"/>
          </a:xfrm>
          <a:prstGeom prst="rect">
            <a:avLst/>
          </a:prstGeom>
        </p:spPr>
      </p:pic>
      <p:pic>
        <p:nvPicPr>
          <p:cNvPr id="9" name="Picture 16" descr="BENU 4x3 Uplift Bar RGB.emf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" y="5516571"/>
            <a:ext cx="11857567" cy="109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7079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gulier / opsomming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ln w="3175">
            <a:noFill/>
            <a:prstDash val="sysDot"/>
          </a:ln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672000" y="6429645"/>
            <a:ext cx="8880000" cy="192000"/>
          </a:xfrm>
          <a:ln w="3175">
            <a:noFill/>
            <a:prstDash val="solid"/>
          </a:ln>
        </p:spPr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ln w="3175">
            <a:noFill/>
            <a:prstDash val="sysDot"/>
          </a:ln>
        </p:spPr>
        <p:txBody>
          <a:bodyPr/>
          <a:lstStyle/>
          <a:p>
            <a:fld id="{5E351446-36E0-4030-ADF0-3D1CBEC8B63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72000" y="360000"/>
            <a:ext cx="9264000" cy="4140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72000" y="1044000"/>
            <a:ext cx="11184000" cy="51480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87671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213" y="98428"/>
            <a:ext cx="11761257" cy="684213"/>
          </a:xfrm>
        </p:spPr>
        <p:txBody>
          <a:bodyPr/>
          <a:lstStyle>
            <a:lvl1pPr>
              <a:defRPr sz="2400" b="1">
                <a:solidFill>
                  <a:srgbClr val="00266E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9188" y="1124745"/>
            <a:ext cx="11761256" cy="5112568"/>
          </a:xfrm>
        </p:spPr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516672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6911DC1C-A7B7-4730-B3D9-376881F52A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7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6911DC1C-A7B7-4730-B3D9-376881F52A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7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marque tinted CUT.eps">
            <a:extLst>
              <a:ext uri="{FF2B5EF4-FFF2-40B4-BE49-F238E27FC236}">
                <a16:creationId xmlns:a16="http://schemas.microsoft.com/office/drawing/2014/main" id="{AFEC4437-4F86-4C53-AA2D-B19FBAC3CFE0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868" y="-314323"/>
            <a:ext cx="13514917" cy="752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2">
            <a:extLst>
              <a:ext uri="{FF2B5EF4-FFF2-40B4-BE49-F238E27FC236}">
                <a16:creationId xmlns:a16="http://schemas.microsoft.com/office/drawing/2014/main" id="{433E7E42-82FF-4879-B7A7-8A34CE9620C2}"/>
              </a:ext>
            </a:extLst>
          </p:cNvPr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auto">
          <a:xfrm>
            <a:off x="239185" y="620713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pic>
        <p:nvPicPr>
          <p:cNvPr id="7" name="Picture 12" descr="BENU_logo_SCREEN.eps">
            <a:extLst>
              <a:ext uri="{FF2B5EF4-FFF2-40B4-BE49-F238E27FC236}">
                <a16:creationId xmlns:a16="http://schemas.microsoft.com/office/drawing/2014/main" id="{C2E09FD4-38A1-4132-AC08-D432EF4CC1F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346" y="711203"/>
            <a:ext cx="2554817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16x9 uplift bar cmyk.eps">
            <a:extLst>
              <a:ext uri="{FF2B5EF4-FFF2-40B4-BE49-F238E27FC236}">
                <a16:creationId xmlns:a16="http://schemas.microsoft.com/office/drawing/2014/main" id="{E22D9356-5B20-49AE-A821-E9E77C25FC4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86403"/>
            <a:ext cx="11887200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424565" y="1988850"/>
            <a:ext cx="8888785" cy="155442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4000" b="1" i="0">
                <a:solidFill>
                  <a:srgbClr val="58A618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32"/>
          <p:cNvSpPr>
            <a:spLocks noGrp="1"/>
          </p:cNvSpPr>
          <p:nvPr>
            <p:ph type="body" sz="quarter" idx="18"/>
          </p:nvPr>
        </p:nvSpPr>
        <p:spPr>
          <a:xfrm>
            <a:off x="449622" y="4095728"/>
            <a:ext cx="7925599" cy="413409"/>
          </a:xfrm>
          <a:prstGeom prst="rect">
            <a:avLst/>
          </a:prstGeom>
        </p:spPr>
        <p:txBody>
          <a:bodyPr/>
          <a:lstStyle>
            <a:lvl1pPr>
              <a:lnSpc>
                <a:spcPts val="1680"/>
              </a:lnSpc>
              <a:spcBef>
                <a:spcPts val="0"/>
              </a:spcBef>
              <a:buNone/>
              <a:defRPr sz="1800" b="1" i="0">
                <a:solidFill>
                  <a:srgbClr val="002664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48363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" hidden="1">
            <a:extLst>
              <a:ext uri="{FF2B5EF4-FFF2-40B4-BE49-F238E27FC236}">
                <a16:creationId xmlns:a16="http://schemas.microsoft.com/office/drawing/2014/main" id="{1E7BABBB-6309-4464-9C1E-52078E9FB2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6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12" hidden="1">
                        <a:extLst>
                          <a:ext uri="{FF2B5EF4-FFF2-40B4-BE49-F238E27FC236}">
                            <a16:creationId xmlns:a16="http://schemas.microsoft.com/office/drawing/2014/main" id="{1E7BABBB-6309-4464-9C1E-52078E9FB2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6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2">
            <a:extLst>
              <a:ext uri="{FF2B5EF4-FFF2-40B4-BE49-F238E27FC236}">
                <a16:creationId xmlns:a16="http://schemas.microsoft.com/office/drawing/2014/main" id="{DFEC5688-C93E-4B4B-879F-EC4F7C71C67D}"/>
              </a:ext>
            </a:extLst>
          </p:cNvPr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pic>
        <p:nvPicPr>
          <p:cNvPr id="5" name="Picture 8" descr="BENU_logo_SCREEN.eps">
            <a:extLst>
              <a:ext uri="{FF2B5EF4-FFF2-40B4-BE49-F238E27FC236}">
                <a16:creationId xmlns:a16="http://schemas.microsoft.com/office/drawing/2014/main" id="{64361CD5-83C8-4110-B6F0-CF195B172C0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800" y="165105"/>
            <a:ext cx="1930400" cy="566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1">
            <a:extLst>
              <a:ext uri="{FF2B5EF4-FFF2-40B4-BE49-F238E27FC236}">
                <a16:creationId xmlns:a16="http://schemas.microsoft.com/office/drawing/2014/main" id="{B64A6CE5-EEB9-4EAE-A05E-50DEA9751D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871204" y="6500881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AEF701C-CBE1-4577-867B-2A1A4010943A}" type="slidenum">
              <a:rPr lang="en-US" altLang="nl-NL" sz="1200" smtClean="0">
                <a:solidFill>
                  <a:srgbClr val="58A618"/>
                </a:solidFill>
                <a:latin typeface="Ubuntu"/>
              </a:rPr>
              <a:pPr algn="ctr" eaLnBrk="1" hangingPunct="1">
                <a:defRPr/>
              </a:pPr>
              <a:t>‹nr.›</a:t>
            </a:fld>
            <a:endParaRPr lang="en-US" altLang="nl-NL" sz="1200">
              <a:solidFill>
                <a:srgbClr val="58A618"/>
              </a:solidFill>
              <a:latin typeface="Ubuntu"/>
            </a:endParaRPr>
          </a:p>
          <a:p>
            <a:pPr algn="ctr" eaLnBrk="1" hangingPunct="1">
              <a:defRPr/>
            </a:pPr>
            <a:endParaRPr lang="en-US" altLang="nl-NL" sz="1200">
              <a:solidFill>
                <a:srgbClr val="58A618"/>
              </a:solidFill>
              <a:latin typeface="Ubuntu"/>
            </a:endParaRPr>
          </a:p>
        </p:txBody>
      </p:sp>
      <p:pic>
        <p:nvPicPr>
          <p:cNvPr id="7" name="Picture 11" descr="16x9 straight bar cmyk.eps">
            <a:extLst>
              <a:ext uri="{FF2B5EF4-FFF2-40B4-BE49-F238E27FC236}">
                <a16:creationId xmlns:a16="http://schemas.microsoft.com/office/drawing/2014/main" id="{9DF219A5-9DB4-43D8-BB5D-28F12A078227}"/>
              </a:ext>
            </a:extLst>
          </p:cNvPr>
          <p:cNvPicPr>
            <a:picLocks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6917" y="6548505"/>
            <a:ext cx="45508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16x9 uplift bar cmyk.eps">
            <a:extLst>
              <a:ext uri="{FF2B5EF4-FFF2-40B4-BE49-F238E27FC236}">
                <a16:creationId xmlns:a16="http://schemas.microsoft.com/office/drawing/2014/main" id="{B2748188-C1D4-4BD7-AD83-6FE1063359F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11074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9" hidden="1">
            <a:extLst>
              <a:ext uri="{FF2B5EF4-FFF2-40B4-BE49-F238E27FC236}">
                <a16:creationId xmlns:a16="http://schemas.microsoft.com/office/drawing/2014/main" id="{644EC1F6-9B15-4AAC-A226-74606C324921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35" y="165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9" name="Object 9" hidden="1">
                        <a:extLst>
                          <a:ext uri="{FF2B5EF4-FFF2-40B4-BE49-F238E27FC236}">
                            <a16:creationId xmlns:a16="http://schemas.microsoft.com/office/drawing/2014/main" id="{644EC1F6-9B15-4AAC-A226-74606C3249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5" y="1657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Date Placeholder 4">
            <a:extLst>
              <a:ext uri="{FF2B5EF4-FFF2-40B4-BE49-F238E27FC236}">
                <a16:creationId xmlns:a16="http://schemas.microsoft.com/office/drawing/2014/main" id="{8DE89A18-07BB-450E-B78D-AB124EF2D5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519587" y="6511992"/>
            <a:ext cx="3562349" cy="201613"/>
          </a:xfrm>
          <a:prstGeom prst="rect">
            <a:avLst/>
          </a:prstGeom>
        </p:spPr>
        <p:txBody>
          <a:bodyPr/>
          <a:lstStyle>
            <a:lvl1pPr eaLnBrk="1" hangingPunct="1">
              <a:defRPr sz="2400"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nl-NL">
                <a:solidFill>
                  <a:srgbClr val="000000"/>
                </a:solidFill>
              </a:rPr>
              <a:t>Copyright © 2015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EC27991-0D76-408A-B07A-6E11D3C4B8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37133" y="6712017"/>
            <a:ext cx="2844800" cy="117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BAEA39B-81AC-4706-B871-638A9742BFF2}" type="slidenum">
              <a:rPr lang="en-GB" altLang="nl-NL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GB" altLang="nl-NL">
              <a:solidFill>
                <a:srgbClr val="000000"/>
              </a:solidFill>
            </a:endParaRPr>
          </a:p>
        </p:txBody>
      </p:sp>
      <p:sp>
        <p:nvSpPr>
          <p:cNvPr id="12" name="Footer Placeholder 6">
            <a:extLst>
              <a:ext uri="{FF2B5EF4-FFF2-40B4-BE49-F238E27FC236}">
                <a16:creationId xmlns:a16="http://schemas.microsoft.com/office/drawing/2014/main" id="{DA2F4232-6EDB-490B-8E88-7950CD29D70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24356" y="6511992"/>
            <a:ext cx="3562349" cy="201613"/>
          </a:xfrm>
          <a:prstGeom prst="rect">
            <a:avLst/>
          </a:prstGeom>
        </p:spPr>
        <p:txBody>
          <a:bodyPr/>
          <a:lstStyle>
            <a:lvl1pPr eaLnBrk="1" hangingPunct="1">
              <a:defRPr sz="2400"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APTAIN_TT_PROJECT_TOOLKIT_2015_4DECEMBER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012788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203" y="98428"/>
            <a:ext cx="11761257" cy="684213"/>
          </a:xfrm>
        </p:spPr>
        <p:txBody>
          <a:bodyPr/>
          <a:lstStyle>
            <a:lvl1pPr>
              <a:defRPr sz="2400" b="1">
                <a:solidFill>
                  <a:srgbClr val="00266E"/>
                </a:solidFill>
              </a:defRPr>
            </a:lvl1pPr>
          </a:lstStyle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9188" y="1124745"/>
            <a:ext cx="11761256" cy="5112568"/>
          </a:xfrm>
        </p:spPr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520140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gulier / opsomming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16x9 uplift bar cmyk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11074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"/>
          <p:cNvSpPr/>
          <p:nvPr userDrawn="1"/>
        </p:nvSpPr>
        <p:spPr>
          <a:xfrm>
            <a:off x="711217" y="6359550"/>
            <a:ext cx="1784351" cy="498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sz="1143" dirty="0">
              <a:solidFill>
                <a:srgbClr val="000000"/>
              </a:solidFill>
            </a:endParaRPr>
          </a:p>
        </p:txBody>
      </p:sp>
      <p:graphicFrame>
        <p:nvGraphicFramePr>
          <p:cNvPr id="6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6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Line 2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871200" y="6500838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72B46F09-A436-4BC2-B3E9-EBA9B5FBFB0F}" type="slidenum">
              <a:rPr lang="en-US" altLang="nl-NL" sz="1200" smtClean="0">
                <a:solidFill>
                  <a:srgbClr val="58A618"/>
                </a:solidFill>
                <a:latin typeface="Ubuntu"/>
              </a:rPr>
              <a:pPr algn="ctr" eaLnBrk="1" hangingPunct="1">
                <a:defRPr/>
              </a:pPr>
              <a:t>‹nr.›</a:t>
            </a:fld>
            <a:endParaRPr lang="en-US" altLang="nl-NL" sz="1200">
              <a:solidFill>
                <a:srgbClr val="58A618"/>
              </a:solidFill>
              <a:latin typeface="Ubuntu"/>
            </a:endParaRPr>
          </a:p>
          <a:p>
            <a:pPr algn="ctr" eaLnBrk="1" hangingPunct="1">
              <a:defRPr/>
            </a:pPr>
            <a:endParaRPr lang="en-US" altLang="nl-NL" sz="1200">
              <a:solidFill>
                <a:srgbClr val="58A618"/>
              </a:solidFill>
              <a:latin typeface="Ubuntu"/>
            </a:endParaRPr>
          </a:p>
        </p:txBody>
      </p:sp>
      <p:pic>
        <p:nvPicPr>
          <p:cNvPr id="11" name="Picture 11" descr="16x9 straight bar cmyk.eps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6917" y="6548463"/>
            <a:ext cx="45508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BENU_logo_SCREEN.eps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428" y="6359421"/>
            <a:ext cx="1546357" cy="453989"/>
          </a:xfrm>
          <a:prstGeom prst="rect">
            <a:avLst/>
          </a:prstGeom>
          <a:noFill/>
          <a:ln>
            <a:noFill/>
          </a:ln>
          <a:effectLst>
            <a:glow rad="38100">
              <a:schemeClr val="accent3">
                <a:satMod val="175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72000" y="360000"/>
            <a:ext cx="9264000" cy="414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0" name="Tijdelijke aanduiding voor inhoud 9"/>
          <p:cNvSpPr>
            <a:spLocks noGrp="1"/>
          </p:cNvSpPr>
          <p:nvPr>
            <p:ph sz="quarter" idx="13"/>
          </p:nvPr>
        </p:nvSpPr>
        <p:spPr>
          <a:xfrm>
            <a:off x="672000" y="1044000"/>
            <a:ext cx="11184000" cy="514800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3" name="Tijdelijke aanduiding voor datum 3"/>
          <p:cNvSpPr>
            <a:spLocks noGrp="1"/>
          </p:cNvSpPr>
          <p:nvPr>
            <p:ph type="dt" sz="half" idx="14"/>
          </p:nvPr>
        </p:nvSpPr>
        <p:spPr>
          <a:xfrm>
            <a:off x="9840401" y="6429375"/>
            <a:ext cx="960967" cy="192088"/>
          </a:xfrm>
          <a:prstGeom prst="rect">
            <a:avLst/>
          </a:prstGeom>
          <a:ln w="3175">
            <a:prstDash val="sysDot"/>
          </a:ln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4" name="Tijdelijke aanduiding voor voettekst 4"/>
          <p:cNvSpPr>
            <a:spLocks noGrp="1"/>
          </p:cNvSpPr>
          <p:nvPr>
            <p:ph type="ftr" sz="quarter" idx="15"/>
          </p:nvPr>
        </p:nvSpPr>
        <p:spPr>
          <a:xfrm>
            <a:off x="670984" y="6429375"/>
            <a:ext cx="8881533" cy="192088"/>
          </a:xfrm>
          <a:prstGeom prst="rect">
            <a:avLst/>
          </a:prstGeom>
          <a:ln w="3175"/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5" name="Tijdelijke aanduiding voor dianummer 5"/>
          <p:cNvSpPr>
            <a:spLocks noGrp="1"/>
          </p:cNvSpPr>
          <p:nvPr>
            <p:ph type="sldNum" sz="quarter" idx="16"/>
          </p:nvPr>
        </p:nvSpPr>
        <p:spPr>
          <a:xfrm>
            <a:off x="11184467" y="6429375"/>
            <a:ext cx="431800" cy="192088"/>
          </a:xfrm>
          <a:prstGeom prst="rect">
            <a:avLst/>
          </a:prstGeom>
          <a:ln w="3175">
            <a:prstDash val="sysDot"/>
          </a:ln>
        </p:spPr>
        <p:txBody>
          <a:bodyPr/>
          <a:lstStyle>
            <a:lvl1pPr>
              <a:defRPr sz="2300">
                <a:solidFill>
                  <a:srgbClr val="000000"/>
                </a:solidFill>
                <a:latin typeface="Geneva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84A867F-9C48-479C-B0C3-F1FCD4015162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0476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8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8.png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15.png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17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image" Target="../media/image33.jp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image" Target="../media/image3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0242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Rectangle 5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39185" y="990600"/>
            <a:ext cx="11808883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extmasterformate durch Klicken bearbeiten</a:t>
            </a:r>
          </a:p>
          <a:p>
            <a:pPr lvl="1"/>
            <a:r>
              <a:rPr lang="de-DE" altLang="nl-NL"/>
              <a:t>Zweite Ebene</a:t>
            </a:r>
          </a:p>
          <a:p>
            <a:pPr lvl="2"/>
            <a:r>
              <a:rPr lang="de-DE" altLang="nl-NL"/>
              <a:t>Dritte Ebene</a:t>
            </a:r>
          </a:p>
          <a:p>
            <a:pPr lvl="3"/>
            <a:r>
              <a:rPr lang="de-DE" altLang="nl-NL"/>
              <a:t>Vierte Ebene</a:t>
            </a:r>
          </a:p>
          <a:p>
            <a:pPr lvl="4"/>
            <a:r>
              <a:rPr lang="de-DE" altLang="nl-NL"/>
              <a:t>Fünfte Ebene</a:t>
            </a:r>
          </a:p>
        </p:txBody>
      </p:sp>
      <p:sp>
        <p:nvSpPr>
          <p:cNvPr id="10244" name="Rectangle 6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0083" y="98428"/>
            <a:ext cx="10943167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itelmasterformat durch Klicken bearbeiten</a:t>
            </a:r>
          </a:p>
        </p:txBody>
      </p:sp>
      <p:sp>
        <p:nvSpPr>
          <p:cNvPr id="9" name="Line 2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1031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871200" y="6464325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6AC01C-BC68-4FF1-9987-171F6681BCB2}" type="slidenum">
              <a:rPr kumimoji="0" lang="de-DE" altLang="nl-NL" sz="1200" b="0" i="0" u="none" strike="noStrike" kern="1200" cap="none" spc="0" normalizeH="0" baseline="0" noProof="0" smtClean="0">
                <a:ln>
                  <a:noFill/>
                </a:ln>
                <a:solidFill>
                  <a:srgbClr val="58A618"/>
                </a:solidFill>
                <a:effectLst/>
                <a:uLnTx/>
                <a:uFillTx/>
                <a:latin typeface="Ubuntu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nl-NL" sz="1200" b="0" i="0" u="none" strike="noStrike" kern="1200" cap="none" spc="0" normalizeH="0" baseline="0" noProof="0">
              <a:ln>
                <a:noFill/>
              </a:ln>
              <a:solidFill>
                <a:srgbClr val="58A618"/>
              </a:solidFill>
              <a:effectLst/>
              <a:uLnTx/>
              <a:uFillTx/>
              <a:latin typeface="Ubuntu" charset="0"/>
              <a:ea typeface="MS PGothic" pitchFamily="34" charset="-128"/>
              <a:cs typeface="+mn-cs"/>
            </a:endParaRPr>
          </a:p>
        </p:txBody>
      </p:sp>
      <p:pic>
        <p:nvPicPr>
          <p:cNvPr id="10247" name="Picture 14" descr="BENU Uplift Bar LONG BAR RGB.emf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" y="6453188"/>
            <a:ext cx="1108921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8" name="Picture 15" descr="BENU Uplift Bar SHORT BAR RGB.emf"/>
          <p:cNvPicPr>
            <a:picLocks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13650" y="6531000"/>
            <a:ext cx="478367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9" name="Afbeelding 13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03936" y="49213"/>
            <a:ext cx="1627717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9972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3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 b="1">
          <a:solidFill>
            <a:srgbClr val="00266E"/>
          </a:solidFill>
          <a:latin typeface="Ubuntu"/>
          <a:ea typeface="ＭＳ Ｐゴシック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2" descr="16x9 uplift bar cmyk.eps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11074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711217" y="6359550"/>
            <a:ext cx="1784351" cy="498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 sz="1143" dirty="0">
              <a:solidFill>
                <a:srgbClr val="000000"/>
              </a:solidFill>
            </a:endParaRPr>
          </a:p>
        </p:txBody>
      </p:sp>
      <p:graphicFrame>
        <p:nvGraphicFramePr>
          <p:cNvPr id="11268" name="Object 1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11268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8834" name="Line 2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239185" y="838200"/>
            <a:ext cx="11808883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 eaLnBrk="1" hangingPunct="1">
              <a:defRPr/>
            </a:pPr>
            <a:endParaRPr lang="en-US" sz="2400" dirty="0">
              <a:solidFill>
                <a:srgbClr val="000000"/>
              </a:solidFill>
              <a:latin typeface="Geneva" charset="0"/>
            </a:endParaRPr>
          </a:p>
        </p:txBody>
      </p:sp>
      <p:sp>
        <p:nvSpPr>
          <p:cNvPr id="11270" name="Rectangle 5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39185" y="990600"/>
            <a:ext cx="11808883" cy="503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/>
              <a:t>Textmasterformate durch Klicken bearbeiten</a:t>
            </a:r>
          </a:p>
          <a:p>
            <a:pPr lvl="1"/>
            <a:r>
              <a:rPr lang="en-US" altLang="nl-NL"/>
              <a:t>Zweite Ebene</a:t>
            </a:r>
          </a:p>
        </p:txBody>
      </p:sp>
      <p:sp>
        <p:nvSpPr>
          <p:cNvPr id="11271" name="Rectangle 6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0067" y="98428"/>
            <a:ext cx="11938000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l-NL"/>
              <a:t>Titelmasterformat durch Klicken bearbeiten</a:t>
            </a:r>
          </a:p>
        </p:txBody>
      </p:sp>
      <p:sp>
        <p:nvSpPr>
          <p:cNvPr id="2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10871200" y="6500838"/>
            <a:ext cx="107738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Geneva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9808CBD2-1397-493D-8C0F-CFC9C1115684}" type="slidenum">
              <a:rPr lang="en-US" altLang="nl-NL" sz="1200" smtClean="0">
                <a:solidFill>
                  <a:srgbClr val="58A618"/>
                </a:solidFill>
                <a:latin typeface="Ubuntu"/>
              </a:rPr>
              <a:pPr algn="ctr" eaLnBrk="1" hangingPunct="1">
                <a:defRPr/>
              </a:pPr>
              <a:t>‹nr.›</a:t>
            </a:fld>
            <a:endParaRPr lang="en-US" altLang="nl-NL" sz="1200">
              <a:solidFill>
                <a:srgbClr val="58A618"/>
              </a:solidFill>
              <a:latin typeface="Ubuntu"/>
            </a:endParaRPr>
          </a:p>
          <a:p>
            <a:pPr algn="ctr" eaLnBrk="1" hangingPunct="1">
              <a:defRPr/>
            </a:pPr>
            <a:endParaRPr lang="en-US" altLang="nl-NL" sz="1200">
              <a:solidFill>
                <a:srgbClr val="58A618"/>
              </a:solidFill>
              <a:latin typeface="Ubuntu"/>
            </a:endParaRPr>
          </a:p>
        </p:txBody>
      </p:sp>
      <p:pic>
        <p:nvPicPr>
          <p:cNvPr id="11273" name="Picture 11" descr="16x9 straight bar cmyk.eps"/>
          <p:cNvPicPr>
            <a:picLocks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6917" y="6548463"/>
            <a:ext cx="45508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8" descr="BENU_logo_SCREEN.eps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428" y="6359421"/>
            <a:ext cx="1546357" cy="453989"/>
          </a:xfrm>
          <a:prstGeom prst="rect">
            <a:avLst/>
          </a:prstGeom>
          <a:noFill/>
          <a:ln>
            <a:noFill/>
          </a:ln>
          <a:effectLst>
            <a:glow rad="38100">
              <a:schemeClr val="accent3">
                <a:satMod val="175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15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200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5pPr>
      <a:lvl6pPr marL="457207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13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2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26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1313" indent="-341313" algn="l" rtl="0" eaLnBrk="0" fontAlgn="base" hangingPunct="0">
        <a:lnSpc>
          <a:spcPct val="114000"/>
        </a:lnSpc>
        <a:spcBef>
          <a:spcPts val="600"/>
        </a:spcBef>
        <a:spcAft>
          <a:spcPct val="0"/>
        </a:spcAft>
        <a:buClr>
          <a:srgbClr val="58A618"/>
        </a:buClr>
        <a:buFont typeface="Wingdings" pitchFamily="2" charset="2"/>
        <a:buChar char="§"/>
        <a:defRPr b="1"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  <a:cs typeface="Calibri" panose="020F0502020204030204" pitchFamily="34" charset="0"/>
        </a:defRPr>
      </a:lvl1pPr>
      <a:lvl2pPr marL="741363" indent="-284163" algn="l" rtl="0" eaLnBrk="0" fontAlgn="base" hangingPunct="0">
        <a:lnSpc>
          <a:spcPct val="114000"/>
        </a:lnSpc>
        <a:spcBef>
          <a:spcPts val="600"/>
        </a:spcBef>
        <a:spcAft>
          <a:spcPct val="0"/>
        </a:spcAft>
        <a:buClr>
          <a:srgbClr val="58A618"/>
        </a:buClr>
        <a:buFont typeface="Arial" pitchFamily="34" charset="0"/>
        <a:buChar char="-"/>
        <a:defRPr>
          <a:solidFill>
            <a:srgbClr val="00266E"/>
          </a:solidFill>
          <a:latin typeface="Calibri" panose="020F0502020204030204" pitchFamily="34" charset="0"/>
          <a:ea typeface="ＭＳ Ｐゴシック" pitchFamily="34" charset="-128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Wingdings" pitchFamily="2" charset="2"/>
        <a:buChar char="§"/>
        <a:defRPr>
          <a:solidFill>
            <a:srgbClr val="00266E"/>
          </a:solidFill>
          <a:latin typeface="Ubuntu"/>
          <a:ea typeface="ＭＳ Ｐゴシック" pitchFamily="34" charset="-128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ＭＳ Ｐゴシック" pitchFamily="34" charset="-128"/>
        </a:defRPr>
      </a:lvl5pPr>
      <a:lvl6pPr marL="2514635" indent="-228602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971842" indent="-228602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429049" indent="-228602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86255" indent="-228602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7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3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6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3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0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5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52" algn="l" defTabSz="9144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NDERBALK">
            <a:extLst>
              <a:ext uri="{FF2B5EF4-FFF2-40B4-BE49-F238E27FC236}">
                <a16:creationId xmlns:a16="http://schemas.microsoft.com/office/drawing/2014/main" id="{257A4CE5-0608-4313-AAFD-A85F30ADDC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48637"/>
            <a:ext cx="12142799" cy="411481"/>
          </a:xfrm>
          <a:prstGeom prst="rect">
            <a:avLst/>
          </a:prstGeom>
        </p:spPr>
      </p:pic>
      <p:pic>
        <p:nvPicPr>
          <p:cNvPr id="30" name="Logo_Line_Top">
            <a:extLst>
              <a:ext uri="{FF2B5EF4-FFF2-40B4-BE49-F238E27FC236}">
                <a16:creationId xmlns:a16="http://schemas.microsoft.com/office/drawing/2014/main" id="{75BE3516-A986-4B6A-8605-1E709BF6B5F9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764720"/>
            <a:ext cx="12142800" cy="144000"/>
          </a:xfrm>
          <a:prstGeom prst="rect">
            <a:avLst/>
          </a:prstGeom>
        </p:spPr>
      </p:pic>
      <p:pic>
        <p:nvPicPr>
          <p:cNvPr id="31" name="Logo_BENU">
            <a:extLst>
              <a:ext uri="{FF2B5EF4-FFF2-40B4-BE49-F238E27FC236}">
                <a16:creationId xmlns:a16="http://schemas.microsoft.com/office/drawing/2014/main" id="{ED3161F7-2747-4E4B-AD06-A6E55F4561C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6538" y="189710"/>
            <a:ext cx="1609200" cy="606236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98500" y="7256463"/>
            <a:ext cx="20447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84198" y="1202020"/>
            <a:ext cx="11020427" cy="50078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Bullet</a:t>
            </a:r>
          </a:p>
          <a:p>
            <a:pPr lvl="1"/>
            <a:r>
              <a:rPr lang="nl-NL" noProof="0" dirty="0"/>
              <a:t>Sub-bullet</a:t>
            </a:r>
          </a:p>
          <a:p>
            <a:pPr lvl="2"/>
            <a:r>
              <a:rPr lang="nl-NL" noProof="0" dirty="0"/>
              <a:t>Leestekst</a:t>
            </a:r>
          </a:p>
          <a:p>
            <a:pPr lvl="3"/>
            <a:r>
              <a:rPr lang="nl-NL" noProof="0" dirty="0"/>
              <a:t>Subtitel</a:t>
            </a:r>
          </a:p>
          <a:p>
            <a:pPr lvl="4"/>
            <a:r>
              <a:rPr lang="nl-NL" noProof="0" dirty="0"/>
              <a:t>Numerieke bullet</a:t>
            </a:r>
          </a:p>
          <a:p>
            <a:pPr lvl="5"/>
            <a:r>
              <a:rPr lang="nl-NL" noProof="0" dirty="0"/>
              <a:t>Alfabetische bullet</a:t>
            </a:r>
          </a:p>
          <a:p>
            <a:pPr lvl="6"/>
            <a:r>
              <a:rPr lang="nl-NL" noProof="0" dirty="0"/>
              <a:t>Sub-bullet</a:t>
            </a:r>
          </a:p>
          <a:p>
            <a:pPr lvl="7"/>
            <a:r>
              <a:rPr lang="nl-NL" noProof="0" dirty="0"/>
              <a:t>Cursief</a:t>
            </a:r>
          </a:p>
          <a:p>
            <a:pPr lvl="8"/>
            <a:r>
              <a:rPr lang="nl-NL" noProof="0" dirty="0"/>
              <a:t>Alt. Subtitel</a:t>
            </a: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84199" y="323060"/>
            <a:ext cx="9101108" cy="4152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Plaats hier je titel</a:t>
            </a:r>
          </a:p>
        </p:txBody>
      </p:sp>
      <p:sp>
        <p:nvSpPr>
          <p:cNvPr id="36" name="Foliennummernplatzhalter 16">
            <a:extLst>
              <a:ext uri="{FF2B5EF4-FFF2-40B4-BE49-F238E27FC236}">
                <a16:creationId xmlns:a16="http://schemas.microsoft.com/office/drawing/2014/main" id="{EADF8E4F-D452-42CB-AD15-87643AA29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16200000">
            <a:off x="11893200" y="6380373"/>
            <a:ext cx="237600" cy="360000"/>
          </a:xfrm>
          <a:prstGeom prst="round2SameRect">
            <a:avLst>
              <a:gd name="adj1" fmla="val 31464"/>
              <a:gd name="adj2" fmla="val 0"/>
            </a:avLst>
          </a:prstGeom>
          <a:solidFill>
            <a:schemeClr val="accent1"/>
          </a:solidFill>
        </p:spPr>
        <p:txBody>
          <a:bodyPr vert="vert" lIns="0" tIns="0" rIns="0" bIns="7200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F559410B-54C3-4B9B-95E2-32E79B2DC882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4498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255713" algn="l"/>
        </a:tabLst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71913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2"/>
        </a:buClr>
        <a:buSzPct val="100000"/>
        <a:buFont typeface="Segoe UI Light" panose="020B0502040204020203" pitchFamily="34" charset="0"/>
        <a:buChar char="•"/>
        <a:defRPr sz="1600" kern="1200">
          <a:solidFill>
            <a:srgbClr val="575756"/>
          </a:solidFill>
          <a:latin typeface="+mn-lt"/>
          <a:ea typeface="+mn-ea"/>
          <a:cs typeface="+mn-cs"/>
        </a:defRPr>
      </a:lvl1pPr>
      <a:lvl2pPr marL="538163" indent="-274638" algn="l" defTabSz="71913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3"/>
        </a:buClr>
        <a:buSzPct val="100000"/>
        <a:buFont typeface="Corbel" panose="020B0503020204020204" pitchFamily="34" charset="0"/>
        <a:buChar char="–"/>
        <a:defRPr sz="1600" i="0" kern="1200">
          <a:solidFill>
            <a:srgbClr val="575756"/>
          </a:solidFill>
          <a:latin typeface="+mn-lt"/>
          <a:ea typeface="+mn-ea"/>
          <a:cs typeface="+mn-cs"/>
        </a:defRPr>
      </a:lvl2pPr>
      <a:lvl3pPr marL="0" indent="0" algn="l" defTabSz="71913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rgbClr val="0070C0"/>
        </a:buClr>
        <a:buSzPct val="85000"/>
        <a:buFont typeface="Arial" panose="020B0604020202020204" pitchFamily="34" charset="0"/>
        <a:buNone/>
        <a:defRPr sz="1600" i="0" kern="1200">
          <a:solidFill>
            <a:srgbClr val="575756"/>
          </a:solidFill>
          <a:latin typeface="+mn-lt"/>
          <a:ea typeface="+mn-ea"/>
          <a:cs typeface="+mn-cs"/>
        </a:defRPr>
      </a:lvl3pPr>
      <a:lvl4pPr marL="0" indent="0" algn="l" defTabSz="71913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1" kern="1200" cap="none" spc="30" baseline="0">
          <a:solidFill>
            <a:schemeClr val="accent1"/>
          </a:solidFill>
          <a:latin typeface="+mj-lt"/>
          <a:ea typeface="+mn-ea"/>
          <a:cs typeface="Calibri" panose="020F0502020204030204" pitchFamily="34" charset="0"/>
        </a:defRPr>
      </a:lvl4pPr>
      <a:lvl5pPr marL="361950" indent="-361950" algn="l" defTabSz="719138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2"/>
        </a:buClr>
        <a:buFont typeface="+mj-lt"/>
        <a:buAutoNum type="arabicPeriod"/>
        <a:defRPr sz="1600" i="0" kern="1200">
          <a:solidFill>
            <a:srgbClr val="575756"/>
          </a:solidFill>
          <a:latin typeface="+mn-lt"/>
          <a:ea typeface="+mn-ea"/>
          <a:cs typeface="+mn-cs"/>
        </a:defRPr>
      </a:lvl5pPr>
      <a:lvl6pPr marL="361950" indent="-36195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2"/>
        </a:buClr>
        <a:buFont typeface="+mj-lt"/>
        <a:buAutoNum type="alphaLcPeriod"/>
        <a:defRPr sz="1600" b="0" i="0" kern="1200">
          <a:solidFill>
            <a:srgbClr val="575756"/>
          </a:solidFill>
          <a:latin typeface="+mn-lt"/>
          <a:ea typeface="+mn-ea"/>
          <a:cs typeface="+mn-cs"/>
        </a:defRPr>
      </a:lvl6pPr>
      <a:lvl7pPr marL="538163" indent="-274638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Clr>
          <a:schemeClr val="accent3"/>
        </a:buClr>
        <a:buFont typeface="Corbel" panose="020B0503020204020204" pitchFamily="34" charset="0"/>
        <a:buChar char="–"/>
        <a:defRPr sz="1600" b="0" i="0" kern="1200">
          <a:solidFill>
            <a:srgbClr val="575756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i="1" kern="1200">
          <a:solidFill>
            <a:srgbClr val="575756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1" kern="1200">
          <a:solidFill>
            <a:schemeClr val="accent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>
          <p15:clr>
            <a:srgbClr val="F26B43"/>
          </p15:clr>
        </p15:guide>
        <p15:guide id="2" orient="horz" pos="754">
          <p15:clr>
            <a:srgbClr val="F26B43"/>
          </p15:clr>
        </p15:guide>
        <p15:guide id="3" orient="horz" pos="119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pos="7310">
          <p15:clr>
            <a:srgbClr val="F26B43"/>
          </p15:clr>
        </p15:guide>
        <p15:guide id="7" orient="horz" pos="38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75701" y="172150"/>
            <a:ext cx="11046684" cy="9075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75701" y="1227137"/>
            <a:ext cx="11040599" cy="478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Bullets</a:t>
            </a:r>
          </a:p>
          <a:p>
            <a:pPr lvl="1"/>
            <a:r>
              <a:rPr lang="nl-NL" dirty="0"/>
              <a:t>Sub-</a:t>
            </a:r>
            <a:r>
              <a:rPr lang="nl-NL" dirty="0" err="1"/>
              <a:t>bullets</a:t>
            </a:r>
            <a:endParaRPr lang="nl-NL" dirty="0"/>
          </a:p>
          <a:p>
            <a:pPr lvl="2"/>
            <a:r>
              <a:rPr lang="nl-NL" dirty="0"/>
              <a:t>Platte tekst</a:t>
            </a:r>
          </a:p>
          <a:p>
            <a:pPr lvl="3"/>
            <a:r>
              <a:rPr lang="nl-NL" dirty="0"/>
              <a:t>Sub-kop</a:t>
            </a:r>
          </a:p>
          <a:p>
            <a:pPr lvl="4"/>
            <a:r>
              <a:rPr lang="nl-NL" dirty="0"/>
              <a:t>SA </a:t>
            </a:r>
            <a:r>
              <a:rPr lang="nl-NL" dirty="0" err="1"/>
              <a:t>Bullet</a:t>
            </a:r>
            <a:endParaRPr lang="nl-NL" dirty="0"/>
          </a:p>
          <a:p>
            <a:pPr lvl="5"/>
            <a:r>
              <a:rPr lang="nl-NL" dirty="0"/>
              <a:t>Opsomming</a:t>
            </a:r>
          </a:p>
          <a:p>
            <a:pPr lvl="6"/>
            <a:r>
              <a:rPr lang="nl-NL" dirty="0"/>
              <a:t># ABC</a:t>
            </a:r>
          </a:p>
          <a:p>
            <a:pPr lvl="7"/>
            <a:r>
              <a:rPr lang="nl-NL" dirty="0"/>
              <a:t># Bullets</a:t>
            </a:r>
          </a:p>
          <a:p>
            <a:pPr lvl="8"/>
            <a:r>
              <a:rPr lang="nl-NL" dirty="0"/>
              <a:t>Alt. Sub-kop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575702" y="6320727"/>
            <a:ext cx="2065713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Service Apotheek Text" panose="00000500000000000000" pitchFamily="2" charset="0"/>
              </a:defRPr>
            </a:lvl1pPr>
          </a:lstStyle>
          <a:p>
            <a:fld id="{47692F41-CE10-45F4-9A3D-D09738D81442}" type="datetime3">
              <a:rPr lang="nl-NL" smtClean="0"/>
              <a:t>13/6/24</a:t>
            </a:fld>
            <a:endParaRPr lang="nl-NL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677069" y="6320727"/>
            <a:ext cx="683786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Service Apotheek Text" panose="00000500000000000000" pitchFamily="2" charset="0"/>
              </a:defRPr>
            </a:lvl1pPr>
          </a:lstStyle>
          <a:p>
            <a:r>
              <a:rPr lang="nl-NL"/>
              <a:t>Ga naar Invoegen Koptekst &amp; Voettekst; Overal toepassen</a:t>
            </a:r>
            <a:endParaRPr lang="nl-NL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9931868" y="6320727"/>
            <a:ext cx="2065714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  <a:latin typeface="Service Apotheek Text" panose="00000500000000000000" pitchFamily="2" charset="0"/>
              </a:defRPr>
            </a:lvl1pPr>
          </a:lstStyle>
          <a:p>
            <a:fld id="{1D2F56AF-52DD-4DF6-B439-3FC8E38D39F7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4BCB8031-2E7C-4DEC-8D3F-D6C6FBAC4DB0}"/>
              </a:ext>
            </a:extLst>
          </p:cNvPr>
          <p:cNvGrpSpPr/>
          <p:nvPr userDrawn="1"/>
        </p:nvGrpSpPr>
        <p:grpSpPr>
          <a:xfrm>
            <a:off x="-2667026" y="0"/>
            <a:ext cx="2582293" cy="5517232"/>
            <a:chOff x="-2621280" y="0"/>
            <a:chExt cx="2583638" cy="5517232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92E48C4E-FBC6-47B2-BD97-EF1F2B2D59E9}"/>
                </a:ext>
              </a:extLst>
            </p:cNvPr>
            <p:cNvSpPr/>
            <p:nvPr userDrawn="1"/>
          </p:nvSpPr>
          <p:spPr>
            <a:xfrm>
              <a:off x="-2621280" y="0"/>
              <a:ext cx="2538243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TEKST</a:t>
              </a: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j-lt"/>
                </a:rPr>
                <a:t> </a:t>
              </a:r>
              <a:r>
                <a:rPr kumimoji="0" lang="nl-NL" sz="1799" b="1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</a:rPr>
                <a:t>NIVEAUS</a:t>
              </a:r>
            </a:p>
          </p:txBody>
        </p:sp>
        <p:sp>
          <p:nvSpPr>
            <p:cNvPr id="11" name="Textfield placeholder">
              <a:extLst>
                <a:ext uri="{FF2B5EF4-FFF2-40B4-BE49-F238E27FC236}">
                  <a16:creationId xmlns:a16="http://schemas.microsoft.com/office/drawing/2014/main" id="{34558280-B45C-4544-BD07-438E63A77B0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1693301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729" marR="0" lvl="0" indent="-342729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>
                  <a:schemeClr val="bg2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999" kern="1200" noProof="0" dirty="0" err="1">
                  <a:solidFill>
                    <a:schemeClr val="bg2"/>
                  </a:solidFill>
                  <a:latin typeface="+mn-lt"/>
                  <a:ea typeface="+mn-ea"/>
                  <a:cs typeface="+mn-cs"/>
                </a:rPr>
                <a:t>Bullets</a:t>
              </a:r>
              <a:endParaRPr lang="nl-NL" sz="1999" kern="1200" noProof="0" dirty="0">
                <a:solidFill>
                  <a:schemeClr val="bg2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id="{BA49FCA0-D3B1-4A2A-B126-4FC999BE43C7}"/>
                </a:ext>
              </a:extLst>
            </p:cNvPr>
            <p:cNvSpPr/>
            <p:nvPr userDrawn="1"/>
          </p:nvSpPr>
          <p:spPr>
            <a:xfrm>
              <a:off x="-2491994" y="1659772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1</a:t>
              </a:r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id="{1831E90B-A138-4757-B904-3053281FAC02}"/>
                </a:ext>
              </a:extLst>
            </p:cNvPr>
            <p:cNvSpPr/>
            <p:nvPr userDrawn="1"/>
          </p:nvSpPr>
          <p:spPr>
            <a:xfrm>
              <a:off x="-2491994" y="2084246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2</a:t>
              </a:r>
            </a:p>
          </p:txBody>
        </p:sp>
        <p:sp>
          <p:nvSpPr>
            <p:cNvPr id="14" name="Ovaal 13">
              <a:extLst>
                <a:ext uri="{FF2B5EF4-FFF2-40B4-BE49-F238E27FC236}">
                  <a16:creationId xmlns:a16="http://schemas.microsoft.com/office/drawing/2014/main" id="{4536B75D-7964-4D0B-AA85-C6534355927D}"/>
                </a:ext>
              </a:extLst>
            </p:cNvPr>
            <p:cNvSpPr/>
            <p:nvPr userDrawn="1"/>
          </p:nvSpPr>
          <p:spPr>
            <a:xfrm>
              <a:off x="-2491994" y="2508720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3</a:t>
              </a:r>
            </a:p>
          </p:txBody>
        </p:sp>
        <p:sp>
          <p:nvSpPr>
            <p:cNvPr id="15" name="Ovaal 14">
              <a:extLst>
                <a:ext uri="{FF2B5EF4-FFF2-40B4-BE49-F238E27FC236}">
                  <a16:creationId xmlns:a16="http://schemas.microsoft.com/office/drawing/2014/main" id="{703EB2E3-9EDE-41F9-84A7-088FFF610C20}"/>
                </a:ext>
              </a:extLst>
            </p:cNvPr>
            <p:cNvSpPr/>
            <p:nvPr userDrawn="1"/>
          </p:nvSpPr>
          <p:spPr>
            <a:xfrm>
              <a:off x="-2491994" y="2933194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4</a:t>
              </a:r>
            </a:p>
          </p:txBody>
        </p:sp>
        <p:sp>
          <p:nvSpPr>
            <p:cNvPr id="16" name="Textfield placeholder">
              <a:extLst>
                <a:ext uri="{FF2B5EF4-FFF2-40B4-BE49-F238E27FC236}">
                  <a16:creationId xmlns:a16="http://schemas.microsoft.com/office/drawing/2014/main" id="{2CD12D08-BB27-41F4-A0CB-6073C1D6BC8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2117775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09295" marR="0" lvl="1" indent="-342729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999" kern="1200" noProof="0" dirty="0">
                  <a:solidFill>
                    <a:schemeClr val="bg2"/>
                  </a:solidFill>
                  <a:latin typeface="+mn-lt"/>
                  <a:ea typeface="+mn-ea"/>
                  <a:cs typeface="+mn-cs"/>
                </a:rPr>
                <a:t>Sub-bullets</a:t>
              </a:r>
            </a:p>
          </p:txBody>
        </p:sp>
        <p:sp>
          <p:nvSpPr>
            <p:cNvPr id="17" name="Textfield placeholder">
              <a:extLst>
                <a:ext uri="{FF2B5EF4-FFF2-40B4-BE49-F238E27FC236}">
                  <a16:creationId xmlns:a16="http://schemas.microsoft.com/office/drawing/2014/main" id="{DE21D081-E355-45A5-9D26-02809717FDA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2542249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2" indent="0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>
                  <a:srgbClr val="9D9FA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199" kern="1200" noProof="0" dirty="0">
                  <a:solidFill>
                    <a:schemeClr val="bg2"/>
                  </a:solidFill>
                  <a:latin typeface="Service Apotheek Text" panose="00000500000000000000" pitchFamily="2" charset="0"/>
                  <a:ea typeface="+mn-ea"/>
                  <a:cs typeface="+mn-cs"/>
                </a:rPr>
                <a:t>Platte tekst</a:t>
              </a:r>
            </a:p>
          </p:txBody>
        </p:sp>
        <p:sp>
          <p:nvSpPr>
            <p:cNvPr id="18" name="Textfield placeholder">
              <a:extLst>
                <a:ext uri="{FF2B5EF4-FFF2-40B4-BE49-F238E27FC236}">
                  <a16:creationId xmlns:a16="http://schemas.microsoft.com/office/drawing/2014/main" id="{2995BAFA-74DE-4F76-A631-FDE7E53AF8A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2966723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799" b="0" kern="1200" noProof="0" dirty="0">
                  <a:solidFill>
                    <a:schemeClr val="bg2"/>
                  </a:solidFill>
                  <a:latin typeface="+mj-lt"/>
                  <a:ea typeface="+mn-ea"/>
                  <a:cs typeface="+mn-cs"/>
                </a:rPr>
                <a:t>Sub-kop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8FD64B4F-3A7B-4D08-9A2B-384C4D460AE2}"/>
                </a:ext>
              </a:extLst>
            </p:cNvPr>
            <p:cNvCxnSpPr/>
            <p:nvPr userDrawn="1"/>
          </p:nvCxnSpPr>
          <p:spPr>
            <a:xfrm>
              <a:off x="-2459680" y="387386"/>
              <a:ext cx="2232000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89BCFF7D-A731-4B68-95BF-EC50C23E7972}"/>
                </a:ext>
              </a:extLst>
            </p:cNvPr>
            <p:cNvCxnSpPr/>
            <p:nvPr userDrawn="1"/>
          </p:nvCxnSpPr>
          <p:spPr>
            <a:xfrm>
              <a:off x="-2459680" y="1512359"/>
              <a:ext cx="2232000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74A042CC-880A-467C-B66F-E80CEECE6F26}"/>
                </a:ext>
              </a:extLst>
            </p:cNvPr>
            <p:cNvCxnSpPr/>
            <p:nvPr userDrawn="1"/>
          </p:nvCxnSpPr>
          <p:spPr>
            <a:xfrm>
              <a:off x="-2459680" y="5517232"/>
              <a:ext cx="2232000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pic>
          <p:nvPicPr>
            <p:cNvPr id="22" name="Picture 3">
              <a:extLst>
                <a:ext uri="{FF2B5EF4-FFF2-40B4-BE49-F238E27FC236}">
                  <a16:creationId xmlns:a16="http://schemas.microsoft.com/office/drawing/2014/main" id="{CADABF9B-E4FB-46FE-BA5E-1C44BE85E10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r="75697" b="23577"/>
            <a:stretch/>
          </p:blipFill>
          <p:spPr bwMode="auto">
            <a:xfrm>
              <a:off x="-2454592" y="864537"/>
              <a:ext cx="591502" cy="55915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4">
              <a:extLst>
                <a:ext uri="{FF2B5EF4-FFF2-40B4-BE49-F238E27FC236}">
                  <a16:creationId xmlns:a16="http://schemas.microsoft.com/office/drawing/2014/main" id="{B76FF58E-D68C-416F-ABD9-E1AF9FFA89C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0548"/>
            <a:stretch/>
          </p:blipFill>
          <p:spPr bwMode="auto">
            <a:xfrm>
              <a:off x="-2459680" y="458418"/>
              <a:ext cx="596590" cy="409575"/>
            </a:xfrm>
            <a:prstGeom prst="roundRect">
              <a:avLst>
                <a:gd name="adj" fmla="val 8126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4" name="Groep 23">
              <a:extLst>
                <a:ext uri="{FF2B5EF4-FFF2-40B4-BE49-F238E27FC236}">
                  <a16:creationId xmlns:a16="http://schemas.microsoft.com/office/drawing/2014/main" id="{570345B6-B83B-48CB-918F-9ECCA94BBD3A}"/>
                </a:ext>
              </a:extLst>
            </p:cNvPr>
            <p:cNvGrpSpPr/>
            <p:nvPr userDrawn="1"/>
          </p:nvGrpSpPr>
          <p:grpSpPr>
            <a:xfrm>
              <a:off x="-1746317" y="458417"/>
              <a:ext cx="435437" cy="427699"/>
              <a:chOff x="-1085063" y="758027"/>
              <a:chExt cx="633800" cy="622540"/>
            </a:xfrm>
          </p:grpSpPr>
          <p:sp>
            <p:nvSpPr>
              <p:cNvPr id="55" name="Afgeronde rechthoek 244">
                <a:extLst>
                  <a:ext uri="{FF2B5EF4-FFF2-40B4-BE49-F238E27FC236}">
                    <a16:creationId xmlns:a16="http://schemas.microsoft.com/office/drawing/2014/main" id="{F9AD8647-BB10-478F-8D36-4C4C768BF802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800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56" name="Groep 55">
                <a:extLst>
                  <a:ext uri="{FF2B5EF4-FFF2-40B4-BE49-F238E27FC236}">
                    <a16:creationId xmlns:a16="http://schemas.microsoft.com/office/drawing/2014/main" id="{FB626B07-B800-4ADF-8C18-BA8C81B1DE50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57" name="Rechthoek 56">
                  <a:extLst>
                    <a:ext uri="{FF2B5EF4-FFF2-40B4-BE49-F238E27FC236}">
                      <a16:creationId xmlns:a16="http://schemas.microsoft.com/office/drawing/2014/main" id="{A104C110-CB61-4C5F-B69B-558876603949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8" name="Rechthoek 57">
                  <a:extLst>
                    <a:ext uri="{FF2B5EF4-FFF2-40B4-BE49-F238E27FC236}">
                      <a16:creationId xmlns:a16="http://schemas.microsoft.com/office/drawing/2014/main" id="{A3D7334B-FDB5-453E-A617-2D2A27D53421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9" name="Rechthoek 58">
                  <a:extLst>
                    <a:ext uri="{FF2B5EF4-FFF2-40B4-BE49-F238E27FC236}">
                      <a16:creationId xmlns:a16="http://schemas.microsoft.com/office/drawing/2014/main" id="{D1B955F8-2247-4DF6-AAA8-46E1A16B8DF1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0" name="Rechthoek 59">
                  <a:extLst>
                    <a:ext uri="{FF2B5EF4-FFF2-40B4-BE49-F238E27FC236}">
                      <a16:creationId xmlns:a16="http://schemas.microsoft.com/office/drawing/2014/main" id="{7EE60754-6FE2-4249-A535-C1DE14FFC3BC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1" name="Rechthoek 60">
                  <a:extLst>
                    <a:ext uri="{FF2B5EF4-FFF2-40B4-BE49-F238E27FC236}">
                      <a16:creationId xmlns:a16="http://schemas.microsoft.com/office/drawing/2014/main" id="{076FDB76-E2FB-4119-ACEE-9E3D72C587D0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2" name="Rechthoek 61">
                  <a:extLst>
                    <a:ext uri="{FF2B5EF4-FFF2-40B4-BE49-F238E27FC236}">
                      <a16:creationId xmlns:a16="http://schemas.microsoft.com/office/drawing/2014/main" id="{2885AFBD-1BD5-44CC-AFEE-369DC057D4DA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3" name="Rechthoek 62">
                  <a:extLst>
                    <a:ext uri="{FF2B5EF4-FFF2-40B4-BE49-F238E27FC236}">
                      <a16:creationId xmlns:a16="http://schemas.microsoft.com/office/drawing/2014/main" id="{C43CAB14-5E89-4687-8B47-B0B012731D7A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4" name="Rechthoek 63">
                  <a:extLst>
                    <a:ext uri="{FF2B5EF4-FFF2-40B4-BE49-F238E27FC236}">
                      <a16:creationId xmlns:a16="http://schemas.microsoft.com/office/drawing/2014/main" id="{E7D15BFD-8B67-4465-9AC9-A51E41ABEC90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5" name="Rechthoek 64">
                  <a:extLst>
                    <a:ext uri="{FF2B5EF4-FFF2-40B4-BE49-F238E27FC236}">
                      <a16:creationId xmlns:a16="http://schemas.microsoft.com/office/drawing/2014/main" id="{12C27C8B-D806-4532-8119-D47B8C034191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6" name="Rechthoek 65">
                  <a:extLst>
                    <a:ext uri="{FF2B5EF4-FFF2-40B4-BE49-F238E27FC236}">
                      <a16:creationId xmlns:a16="http://schemas.microsoft.com/office/drawing/2014/main" id="{D54EC91C-E62D-4E39-A542-C2146332C381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67" name="Vrije vorm 256">
                  <a:extLst>
                    <a:ext uri="{FF2B5EF4-FFF2-40B4-BE49-F238E27FC236}">
                      <a16:creationId xmlns:a16="http://schemas.microsoft.com/office/drawing/2014/main" id="{80DF27B1-E1C4-4F58-89B2-F45E5D526E26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</p:grp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E56B1E2E-F4B7-444D-BEDA-96C6ABD5EDE7}"/>
                </a:ext>
              </a:extLst>
            </p:cNvPr>
            <p:cNvGrpSpPr/>
            <p:nvPr userDrawn="1"/>
          </p:nvGrpSpPr>
          <p:grpSpPr>
            <a:xfrm>
              <a:off x="-1742750" y="1006795"/>
              <a:ext cx="435437" cy="427699"/>
              <a:chOff x="-1845083" y="758027"/>
              <a:chExt cx="633800" cy="622540"/>
            </a:xfrm>
          </p:grpSpPr>
          <p:sp>
            <p:nvSpPr>
              <p:cNvPr id="42" name="Afgeronde rechthoek 231">
                <a:extLst>
                  <a:ext uri="{FF2B5EF4-FFF2-40B4-BE49-F238E27FC236}">
                    <a16:creationId xmlns:a16="http://schemas.microsoft.com/office/drawing/2014/main" id="{36017BAB-6BFC-4B31-9ABE-A659A986606C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800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394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79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endParaRPr>
              </a:p>
            </p:txBody>
          </p:sp>
          <p:grpSp>
            <p:nvGrpSpPr>
              <p:cNvPr id="43" name="Groep 42">
                <a:extLst>
                  <a:ext uri="{FF2B5EF4-FFF2-40B4-BE49-F238E27FC236}">
                    <a16:creationId xmlns:a16="http://schemas.microsoft.com/office/drawing/2014/main" id="{720FD625-39C7-476E-B80B-8F41E67BDD75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44" name="Rechthoek 43">
                  <a:extLst>
                    <a:ext uri="{FF2B5EF4-FFF2-40B4-BE49-F238E27FC236}">
                      <a16:creationId xmlns:a16="http://schemas.microsoft.com/office/drawing/2014/main" id="{2BCAE74C-E23C-4A5F-9C3D-B26A616E8B6C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45" name="Rechthoek 44">
                  <a:extLst>
                    <a:ext uri="{FF2B5EF4-FFF2-40B4-BE49-F238E27FC236}">
                      <a16:creationId xmlns:a16="http://schemas.microsoft.com/office/drawing/2014/main" id="{C3364BAF-2DDB-45ED-8C6D-F8CA986F0575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46" name="Rechthoek 45">
                  <a:extLst>
                    <a:ext uri="{FF2B5EF4-FFF2-40B4-BE49-F238E27FC236}">
                      <a16:creationId xmlns:a16="http://schemas.microsoft.com/office/drawing/2014/main" id="{1BC96B86-EF06-4FF8-9595-C11BB2911958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47" name="Rechthoek 46">
                  <a:extLst>
                    <a:ext uri="{FF2B5EF4-FFF2-40B4-BE49-F238E27FC236}">
                      <a16:creationId xmlns:a16="http://schemas.microsoft.com/office/drawing/2014/main" id="{B4FD41EB-E0F1-4E0F-AAED-1830A786A49E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48" name="Rechthoek 47">
                  <a:extLst>
                    <a:ext uri="{FF2B5EF4-FFF2-40B4-BE49-F238E27FC236}">
                      <a16:creationId xmlns:a16="http://schemas.microsoft.com/office/drawing/2014/main" id="{AE1E0CFF-A186-4A19-9F44-6A7AAE619653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49" name="Rechthoek 48">
                  <a:extLst>
                    <a:ext uri="{FF2B5EF4-FFF2-40B4-BE49-F238E27FC236}">
                      <a16:creationId xmlns:a16="http://schemas.microsoft.com/office/drawing/2014/main" id="{A02BC53E-0528-46DC-A968-E2DAFAF52C57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0" name="Rechthoek 49">
                  <a:extLst>
                    <a:ext uri="{FF2B5EF4-FFF2-40B4-BE49-F238E27FC236}">
                      <a16:creationId xmlns:a16="http://schemas.microsoft.com/office/drawing/2014/main" id="{99DAFBBC-5A5E-466D-B73B-0ECFCAE130D8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1" name="Rechthoek 50">
                  <a:extLst>
                    <a:ext uri="{FF2B5EF4-FFF2-40B4-BE49-F238E27FC236}">
                      <a16:creationId xmlns:a16="http://schemas.microsoft.com/office/drawing/2014/main" id="{B4D74944-7FB2-468E-8339-2E5091BE8511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2" name="Rechthoek 51">
                  <a:extLst>
                    <a:ext uri="{FF2B5EF4-FFF2-40B4-BE49-F238E27FC236}">
                      <a16:creationId xmlns:a16="http://schemas.microsoft.com/office/drawing/2014/main" id="{6306EA4C-186C-4861-B606-875C7E8E31C6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3" name="Rechthoek 52">
                  <a:extLst>
                    <a:ext uri="{FF2B5EF4-FFF2-40B4-BE49-F238E27FC236}">
                      <a16:creationId xmlns:a16="http://schemas.microsoft.com/office/drawing/2014/main" id="{96A13FF4-E0C7-4D3F-AB0A-ADF08722F355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54" name="Vrije vorm 243">
                  <a:extLst>
                    <a:ext uri="{FF2B5EF4-FFF2-40B4-BE49-F238E27FC236}">
                      <a16:creationId xmlns:a16="http://schemas.microsoft.com/office/drawing/2014/main" id="{B440B786-FF71-4DA6-8573-C2323734E17A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3943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79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</p:grpSp>
        <p:cxnSp>
          <p:nvCxnSpPr>
            <p:cNvPr id="26" name="Rechte verbindingslijn 25">
              <a:extLst>
                <a:ext uri="{FF2B5EF4-FFF2-40B4-BE49-F238E27FC236}">
                  <a16:creationId xmlns:a16="http://schemas.microsoft.com/office/drawing/2014/main" id="{AB1EB5A3-71BE-456E-8177-36165CA138B5}"/>
                </a:ext>
              </a:extLst>
            </p:cNvPr>
            <p:cNvCxnSpPr>
              <a:stCxn id="28" idx="2"/>
              <a:endCxn id="42" idx="1"/>
            </p:cNvCxnSpPr>
            <p:nvPr userDrawn="1"/>
          </p:nvCxnSpPr>
          <p:spPr>
            <a:xfrm>
              <a:off x="-2290903" y="1083308"/>
              <a:ext cx="548153" cy="137337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6FAA0019-C0FC-4A40-A14F-86D825817D43}"/>
                </a:ext>
              </a:extLst>
            </p:cNvPr>
            <p:cNvCxnSpPr>
              <a:stCxn id="29" idx="2"/>
              <a:endCxn id="55" idx="1"/>
            </p:cNvCxnSpPr>
            <p:nvPr userDrawn="1"/>
          </p:nvCxnSpPr>
          <p:spPr>
            <a:xfrm flipV="1">
              <a:off x="-2117713" y="672267"/>
              <a:ext cx="371396" cy="239401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</a:ln>
            <a:effectLst/>
          </p:spPr>
        </p:cxnSp>
        <p:sp>
          <p:nvSpPr>
            <p:cNvPr id="28" name="Ovaal 27">
              <a:extLst>
                <a:ext uri="{FF2B5EF4-FFF2-40B4-BE49-F238E27FC236}">
                  <a16:creationId xmlns:a16="http://schemas.microsoft.com/office/drawing/2014/main" id="{81A96B6E-85E3-40B3-BBD3-8FE845F2B48B}"/>
                </a:ext>
              </a:extLst>
            </p:cNvPr>
            <p:cNvSpPr/>
            <p:nvPr userDrawn="1"/>
          </p:nvSpPr>
          <p:spPr>
            <a:xfrm>
              <a:off x="-2290903" y="1052708"/>
              <a:ext cx="61200" cy="61200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" name="Ovaal 28">
              <a:extLst>
                <a:ext uri="{FF2B5EF4-FFF2-40B4-BE49-F238E27FC236}">
                  <a16:creationId xmlns:a16="http://schemas.microsoft.com/office/drawing/2014/main" id="{BD609BF3-56B2-459E-8BA6-DE1155A33F12}"/>
                </a:ext>
              </a:extLst>
            </p:cNvPr>
            <p:cNvSpPr/>
            <p:nvPr userDrawn="1"/>
          </p:nvSpPr>
          <p:spPr>
            <a:xfrm>
              <a:off x="-2117713" y="881464"/>
              <a:ext cx="60407" cy="60407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" name="Textfield placeholder">
              <a:extLst>
                <a:ext uri="{FF2B5EF4-FFF2-40B4-BE49-F238E27FC236}">
                  <a16:creationId xmlns:a16="http://schemas.microsoft.com/office/drawing/2014/main" id="{D503FA7E-E761-4241-BFDB-B7196CE9CD7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208741" y="458418"/>
              <a:ext cx="1125704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472" rtl="0" eaLnBrk="1" fontAlgn="auto" latinLnBrk="0" hangingPunct="1">
                <a:lnSpc>
                  <a:spcPts val="1799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3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rPr>
                <a:t>Niveau vooruit</a:t>
              </a:r>
            </a:p>
          </p:txBody>
        </p:sp>
        <p:sp>
          <p:nvSpPr>
            <p:cNvPr id="31" name="Textfield placeholder">
              <a:extLst>
                <a:ext uri="{FF2B5EF4-FFF2-40B4-BE49-F238E27FC236}">
                  <a16:creationId xmlns:a16="http://schemas.microsoft.com/office/drawing/2014/main" id="{D19738FB-8C0E-406D-85BC-D3AE45D5D1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208741" y="1006796"/>
              <a:ext cx="1125704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6472" rtl="0" eaLnBrk="1" fontAlgn="auto" latinLnBrk="0" hangingPunct="1">
                <a:lnSpc>
                  <a:spcPts val="1799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399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+mj-lt"/>
                </a:rPr>
                <a:t>Niveau terug</a:t>
              </a:r>
            </a:p>
          </p:txBody>
        </p:sp>
        <p:sp>
          <p:nvSpPr>
            <p:cNvPr id="32" name="Textfield placeholder">
              <a:extLst>
                <a:ext uri="{FF2B5EF4-FFF2-40B4-BE49-F238E27FC236}">
                  <a16:creationId xmlns:a16="http://schemas.microsoft.com/office/drawing/2014/main" id="{868EF45E-49B9-4789-901F-2006AE4AB1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3391197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2913" marR="0" lvl="4" indent="-272913" algn="l" defTabSz="913943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Blip>
                  <a:blip r:embed="rId29"/>
                </a:buBlip>
                <a:tabLst/>
                <a:defRPr/>
              </a:pPr>
              <a:r>
                <a:rPr kumimoji="0" lang="nl-NL" sz="1999" b="0" i="0" u="none" strike="noStrike" kern="1200" cap="none" spc="0" normalizeH="0" baseline="0" noProof="0" dirty="0">
                  <a:ln>
                    <a:noFill/>
                  </a:ln>
                  <a:solidFill>
                    <a:srgbClr val="002C55"/>
                  </a:solidFill>
                  <a:effectLst/>
                  <a:uLnTx/>
                  <a:uFillTx/>
                  <a:latin typeface="Service Apotheek Display"/>
                  <a:ea typeface="+mn-ea"/>
                  <a:cs typeface="+mn-cs"/>
                </a:rPr>
                <a:t>SA </a:t>
              </a:r>
              <a:r>
                <a:rPr kumimoji="0" lang="nl-NL" sz="1999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2C55"/>
                  </a:solidFill>
                  <a:effectLst/>
                  <a:uLnTx/>
                  <a:uFillTx/>
                  <a:latin typeface="Service Apotheek Display"/>
                  <a:ea typeface="+mn-ea"/>
                  <a:cs typeface="+mn-cs"/>
                </a:rPr>
                <a:t>Bullet</a:t>
              </a:r>
              <a:endParaRPr kumimoji="0" lang="nl-NL" sz="1999" b="0" i="0" u="none" strike="noStrike" kern="1200" cap="none" spc="0" normalizeH="0" baseline="0" noProof="0" dirty="0">
                <a:ln>
                  <a:noFill/>
                </a:ln>
                <a:solidFill>
                  <a:srgbClr val="002C55"/>
                </a:solidFill>
                <a:effectLst/>
                <a:uLnTx/>
                <a:uFillTx/>
                <a:latin typeface="Service Apotheek Display"/>
                <a:ea typeface="+mn-ea"/>
                <a:cs typeface="+mn-cs"/>
              </a:endParaRPr>
            </a:p>
          </p:txBody>
        </p:sp>
        <p:sp>
          <p:nvSpPr>
            <p:cNvPr id="33" name="Ovaal 32">
              <a:extLst>
                <a:ext uri="{FF2B5EF4-FFF2-40B4-BE49-F238E27FC236}">
                  <a16:creationId xmlns:a16="http://schemas.microsoft.com/office/drawing/2014/main" id="{E64C761C-4F3F-41EE-B3E9-6C001CBBFA0D}"/>
                </a:ext>
              </a:extLst>
            </p:cNvPr>
            <p:cNvSpPr/>
            <p:nvPr userDrawn="1"/>
          </p:nvSpPr>
          <p:spPr>
            <a:xfrm>
              <a:off x="-2491994" y="3357668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5</a:t>
              </a:r>
            </a:p>
          </p:txBody>
        </p:sp>
        <p:sp>
          <p:nvSpPr>
            <p:cNvPr id="34" name="Ovaal 33">
              <a:extLst>
                <a:ext uri="{FF2B5EF4-FFF2-40B4-BE49-F238E27FC236}">
                  <a16:creationId xmlns:a16="http://schemas.microsoft.com/office/drawing/2014/main" id="{6E8D94BE-A568-4F02-B4E6-97264298AE69}"/>
                </a:ext>
              </a:extLst>
            </p:cNvPr>
            <p:cNvSpPr/>
            <p:nvPr userDrawn="1"/>
          </p:nvSpPr>
          <p:spPr>
            <a:xfrm>
              <a:off x="-2491994" y="3782142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6</a:t>
              </a:r>
            </a:p>
          </p:txBody>
        </p:sp>
        <p:sp>
          <p:nvSpPr>
            <p:cNvPr id="35" name="Ovaal 34">
              <a:extLst>
                <a:ext uri="{FF2B5EF4-FFF2-40B4-BE49-F238E27FC236}">
                  <a16:creationId xmlns:a16="http://schemas.microsoft.com/office/drawing/2014/main" id="{E655D428-778C-4FEC-BA0A-4999CDAF246E}"/>
                </a:ext>
              </a:extLst>
            </p:cNvPr>
            <p:cNvSpPr/>
            <p:nvPr userDrawn="1"/>
          </p:nvSpPr>
          <p:spPr>
            <a:xfrm>
              <a:off x="-2491994" y="4206616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7</a:t>
              </a:r>
            </a:p>
          </p:txBody>
        </p:sp>
        <p:sp>
          <p:nvSpPr>
            <p:cNvPr id="36" name="Ovaal 35">
              <a:extLst>
                <a:ext uri="{FF2B5EF4-FFF2-40B4-BE49-F238E27FC236}">
                  <a16:creationId xmlns:a16="http://schemas.microsoft.com/office/drawing/2014/main" id="{0C98AD1B-A915-468C-A0A9-CAFC9E2D7789}"/>
                </a:ext>
              </a:extLst>
            </p:cNvPr>
            <p:cNvSpPr/>
            <p:nvPr userDrawn="1"/>
          </p:nvSpPr>
          <p:spPr>
            <a:xfrm>
              <a:off x="-2491994" y="4631090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8</a:t>
              </a:r>
            </a:p>
          </p:txBody>
        </p:sp>
        <p:sp>
          <p:nvSpPr>
            <p:cNvPr id="37" name="Textfield placeholder">
              <a:extLst>
                <a:ext uri="{FF2B5EF4-FFF2-40B4-BE49-F238E27FC236}">
                  <a16:creationId xmlns:a16="http://schemas.microsoft.com/office/drawing/2014/main" id="{A621FE39-A01C-4A3E-B445-DBC64C594D5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3815671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422" marR="0" lvl="5" indent="-355422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nl-NL" sz="1999" kern="1200" cap="none" baseline="0" noProof="0" dirty="0">
                  <a:solidFill>
                    <a:schemeClr val="bg2"/>
                  </a:solidFill>
                  <a:latin typeface="+mn-lt"/>
                  <a:ea typeface="+mn-ea"/>
                  <a:cs typeface="+mn-cs"/>
                </a:rPr>
                <a:t>Opsomming</a:t>
              </a:r>
            </a:p>
          </p:txBody>
        </p:sp>
        <p:sp>
          <p:nvSpPr>
            <p:cNvPr id="38" name="Textfield placeholder">
              <a:extLst>
                <a:ext uri="{FF2B5EF4-FFF2-40B4-BE49-F238E27FC236}">
                  <a16:creationId xmlns:a16="http://schemas.microsoft.com/office/drawing/2014/main" id="{088AFC39-537D-465B-84C6-D79070B9C8B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4240145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21989" marR="0" lvl="6" indent="-266567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>
                  <a:schemeClr val="bg2"/>
                </a:buClr>
                <a:buSzTx/>
                <a:buFont typeface="+mj-lt"/>
                <a:buAutoNum type="alphaLcPeriod"/>
                <a:tabLst/>
                <a:defRPr/>
              </a:pPr>
              <a:r>
                <a:rPr lang="nl-NL" sz="1999" kern="1200" noProof="0" dirty="0">
                  <a:solidFill>
                    <a:schemeClr val="bg2"/>
                  </a:solidFill>
                  <a:latin typeface="+mn-lt"/>
                  <a:ea typeface="+mn-ea"/>
                  <a:cs typeface="+mn-cs"/>
                </a:rPr>
                <a:t># ABC</a:t>
              </a:r>
            </a:p>
          </p:txBody>
        </p:sp>
        <p:sp>
          <p:nvSpPr>
            <p:cNvPr id="39" name="Textfield placeholder">
              <a:extLst>
                <a:ext uri="{FF2B5EF4-FFF2-40B4-BE49-F238E27FC236}">
                  <a16:creationId xmlns:a16="http://schemas.microsoft.com/office/drawing/2014/main" id="{8D8A9857-FDF3-4A17-B829-7B4153011A8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4664619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98151" marR="0" lvl="7" indent="-342729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999" kern="1200" noProof="0" dirty="0">
                  <a:solidFill>
                    <a:schemeClr val="bg2"/>
                  </a:solidFill>
                  <a:latin typeface="+mn-lt"/>
                  <a:ea typeface="+mn-ea"/>
                  <a:cs typeface="+mn-cs"/>
                </a:rPr>
                <a:t># Bullets</a:t>
              </a:r>
            </a:p>
          </p:txBody>
        </p:sp>
        <p:sp>
          <p:nvSpPr>
            <p:cNvPr id="40" name="Ovaal 39">
              <a:extLst>
                <a:ext uri="{FF2B5EF4-FFF2-40B4-BE49-F238E27FC236}">
                  <a16:creationId xmlns:a16="http://schemas.microsoft.com/office/drawing/2014/main" id="{96F89A4B-36ED-4829-9DA7-C2BB6A0A80C7}"/>
                </a:ext>
              </a:extLst>
            </p:cNvPr>
            <p:cNvSpPr/>
            <p:nvPr userDrawn="1"/>
          </p:nvSpPr>
          <p:spPr>
            <a:xfrm>
              <a:off x="-2491994" y="5055564"/>
              <a:ext cx="316004" cy="314256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39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4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9</a:t>
              </a:r>
            </a:p>
          </p:txBody>
        </p:sp>
        <p:sp>
          <p:nvSpPr>
            <p:cNvPr id="41" name="Textfield placeholder">
              <a:extLst>
                <a:ext uri="{FF2B5EF4-FFF2-40B4-BE49-F238E27FC236}">
                  <a16:creationId xmlns:a16="http://schemas.microsoft.com/office/drawing/2014/main" id="{02073C8C-6567-4B76-8E97-E584006E909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027995" y="5089093"/>
              <a:ext cx="1990353" cy="30048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6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8" indent="0" algn="l" defTabSz="913943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199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799" b="0" kern="1200" noProof="0" dirty="0">
                  <a:solidFill>
                    <a:schemeClr val="tx2"/>
                  </a:solidFill>
                  <a:latin typeface="+mj-lt"/>
                  <a:ea typeface="+mn-ea"/>
                  <a:cs typeface="+mn-cs"/>
                </a:rPr>
                <a:t>Alt. Sub-kop</a:t>
              </a:r>
            </a:p>
          </p:txBody>
        </p:sp>
      </p:grpSp>
      <p:grpSp>
        <p:nvGrpSpPr>
          <p:cNvPr id="7" name="Graphic 69">
            <a:extLst>
              <a:ext uri="{FF2B5EF4-FFF2-40B4-BE49-F238E27FC236}">
                <a16:creationId xmlns:a16="http://schemas.microsoft.com/office/drawing/2014/main" id="{4A1AC69C-38AD-4748-AE29-AE2BE1CAC83B}"/>
              </a:ext>
            </a:extLst>
          </p:cNvPr>
          <p:cNvGrpSpPr/>
          <p:nvPr/>
        </p:nvGrpSpPr>
        <p:grpSpPr>
          <a:xfrm>
            <a:off x="10476807" y="6110881"/>
            <a:ext cx="1148752" cy="443321"/>
            <a:chOff x="10482264" y="6283323"/>
            <a:chExt cx="1149350" cy="443321"/>
          </a:xfrm>
        </p:grpSpPr>
        <p:grpSp>
          <p:nvGrpSpPr>
            <p:cNvPr id="8" name="Graphic 69">
              <a:extLst>
                <a:ext uri="{FF2B5EF4-FFF2-40B4-BE49-F238E27FC236}">
                  <a16:creationId xmlns:a16="http://schemas.microsoft.com/office/drawing/2014/main" id="{4A1AC69C-38AD-4748-AE29-AE2BE1CAC83B}"/>
                </a:ext>
              </a:extLst>
            </p:cNvPr>
            <p:cNvGrpSpPr/>
            <p:nvPr/>
          </p:nvGrpSpPr>
          <p:grpSpPr>
            <a:xfrm>
              <a:off x="10826248" y="6344074"/>
              <a:ext cx="605050" cy="141205"/>
              <a:chOff x="10826248" y="6344074"/>
              <a:chExt cx="605050" cy="141205"/>
            </a:xfrm>
            <a:solidFill>
              <a:srgbClr val="002C55"/>
            </a:solidFill>
          </p:grpSpPr>
          <p:sp>
            <p:nvSpPr>
              <p:cNvPr id="71" name="Vrije vorm: vorm 70">
                <a:extLst>
                  <a:ext uri="{FF2B5EF4-FFF2-40B4-BE49-F238E27FC236}">
                    <a16:creationId xmlns:a16="http://schemas.microsoft.com/office/drawing/2014/main" id="{416B0F7D-6018-48DD-9573-8A7A9A7FC824}"/>
                  </a:ext>
                </a:extLst>
              </p:cNvPr>
              <p:cNvSpPr/>
              <p:nvPr/>
            </p:nvSpPr>
            <p:spPr>
              <a:xfrm>
                <a:off x="10826248" y="6350642"/>
                <a:ext cx="98515" cy="134638"/>
              </a:xfrm>
              <a:custGeom>
                <a:avLst/>
                <a:gdLst>
                  <a:gd name="connsiteX0" fmla="*/ 51721 w 98515"/>
                  <a:gd name="connsiteY0" fmla="*/ 134638 h 134638"/>
                  <a:gd name="connsiteX1" fmla="*/ 20524 w 98515"/>
                  <a:gd name="connsiteY1" fmla="*/ 127250 h 134638"/>
                  <a:gd name="connsiteX2" fmla="*/ 0 w 98515"/>
                  <a:gd name="connsiteY2" fmla="*/ 108367 h 134638"/>
                  <a:gd name="connsiteX3" fmla="*/ 18882 w 98515"/>
                  <a:gd name="connsiteY3" fmla="*/ 92769 h 134638"/>
                  <a:gd name="connsiteX4" fmla="*/ 33660 w 98515"/>
                  <a:gd name="connsiteY4" fmla="*/ 105904 h 134638"/>
                  <a:gd name="connsiteX5" fmla="*/ 52542 w 98515"/>
                  <a:gd name="connsiteY5" fmla="*/ 110830 h 134638"/>
                  <a:gd name="connsiteX6" fmla="*/ 67319 w 98515"/>
                  <a:gd name="connsiteY6" fmla="*/ 106725 h 134638"/>
                  <a:gd name="connsiteX7" fmla="*/ 72245 w 98515"/>
                  <a:gd name="connsiteY7" fmla="*/ 95232 h 134638"/>
                  <a:gd name="connsiteX8" fmla="*/ 68140 w 98515"/>
                  <a:gd name="connsiteY8" fmla="*/ 86201 h 134638"/>
                  <a:gd name="connsiteX9" fmla="*/ 55826 w 98515"/>
                  <a:gd name="connsiteY9" fmla="*/ 80455 h 134638"/>
                  <a:gd name="connsiteX10" fmla="*/ 36122 w 98515"/>
                  <a:gd name="connsiteY10" fmla="*/ 75529 h 134638"/>
                  <a:gd name="connsiteX11" fmla="*/ 2463 w 98515"/>
                  <a:gd name="connsiteY11" fmla="*/ 38585 h 134638"/>
                  <a:gd name="connsiteX12" fmla="*/ 14777 w 98515"/>
                  <a:gd name="connsiteY12" fmla="*/ 10673 h 134638"/>
                  <a:gd name="connsiteX13" fmla="*/ 48437 w 98515"/>
                  <a:gd name="connsiteY13" fmla="*/ 0 h 134638"/>
                  <a:gd name="connsiteX14" fmla="*/ 77171 w 98515"/>
                  <a:gd name="connsiteY14" fmla="*/ 5747 h 134638"/>
                  <a:gd name="connsiteX15" fmla="*/ 96053 w 98515"/>
                  <a:gd name="connsiteY15" fmla="*/ 22166 h 134638"/>
                  <a:gd name="connsiteX16" fmla="*/ 76350 w 98515"/>
                  <a:gd name="connsiteY16" fmla="*/ 37764 h 134638"/>
                  <a:gd name="connsiteX17" fmla="*/ 48437 w 98515"/>
                  <a:gd name="connsiteY17" fmla="*/ 22987 h 134638"/>
                  <a:gd name="connsiteX18" fmla="*/ 34480 w 98515"/>
                  <a:gd name="connsiteY18" fmla="*/ 27092 h 134638"/>
                  <a:gd name="connsiteX19" fmla="*/ 29555 w 98515"/>
                  <a:gd name="connsiteY19" fmla="*/ 37764 h 134638"/>
                  <a:gd name="connsiteX20" fmla="*/ 32839 w 98515"/>
                  <a:gd name="connsiteY20" fmla="*/ 45974 h 134638"/>
                  <a:gd name="connsiteX21" fmla="*/ 45974 w 98515"/>
                  <a:gd name="connsiteY21" fmla="*/ 51721 h 134638"/>
                  <a:gd name="connsiteX22" fmla="*/ 65677 w 98515"/>
                  <a:gd name="connsiteY22" fmla="*/ 56647 h 134638"/>
                  <a:gd name="connsiteX23" fmla="*/ 98516 w 98515"/>
                  <a:gd name="connsiteY23" fmla="*/ 93590 h 134638"/>
                  <a:gd name="connsiteX24" fmla="*/ 85380 w 98515"/>
                  <a:gd name="connsiteY24" fmla="*/ 123145 h 134638"/>
                  <a:gd name="connsiteX25" fmla="*/ 51721 w 98515"/>
                  <a:gd name="connsiteY25" fmla="*/ 134638 h 134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98515" h="134638">
                    <a:moveTo>
                      <a:pt x="51721" y="134638"/>
                    </a:moveTo>
                    <a:cubicBezTo>
                      <a:pt x="40227" y="134638"/>
                      <a:pt x="29555" y="132175"/>
                      <a:pt x="20524" y="127250"/>
                    </a:cubicBezTo>
                    <a:cubicBezTo>
                      <a:pt x="11493" y="122324"/>
                      <a:pt x="4926" y="116577"/>
                      <a:pt x="0" y="108367"/>
                    </a:cubicBezTo>
                    <a:lnTo>
                      <a:pt x="18882" y="92769"/>
                    </a:lnTo>
                    <a:cubicBezTo>
                      <a:pt x="22987" y="98516"/>
                      <a:pt x="27913" y="102621"/>
                      <a:pt x="33660" y="105904"/>
                    </a:cubicBezTo>
                    <a:cubicBezTo>
                      <a:pt x="39406" y="109188"/>
                      <a:pt x="45974" y="110830"/>
                      <a:pt x="52542" y="110830"/>
                    </a:cubicBezTo>
                    <a:cubicBezTo>
                      <a:pt x="59109" y="110830"/>
                      <a:pt x="64035" y="109188"/>
                      <a:pt x="67319" y="106725"/>
                    </a:cubicBezTo>
                    <a:cubicBezTo>
                      <a:pt x="70603" y="104263"/>
                      <a:pt x="72245" y="100158"/>
                      <a:pt x="72245" y="95232"/>
                    </a:cubicBezTo>
                    <a:cubicBezTo>
                      <a:pt x="72245" y="91127"/>
                      <a:pt x="70603" y="88664"/>
                      <a:pt x="68140" y="86201"/>
                    </a:cubicBezTo>
                    <a:cubicBezTo>
                      <a:pt x="65677" y="83738"/>
                      <a:pt x="61572" y="82096"/>
                      <a:pt x="55826" y="80455"/>
                    </a:cubicBezTo>
                    <a:lnTo>
                      <a:pt x="36122" y="75529"/>
                    </a:lnTo>
                    <a:cubicBezTo>
                      <a:pt x="13956" y="69782"/>
                      <a:pt x="2463" y="57468"/>
                      <a:pt x="2463" y="38585"/>
                    </a:cubicBezTo>
                    <a:cubicBezTo>
                      <a:pt x="2463" y="27092"/>
                      <a:pt x="6568" y="18061"/>
                      <a:pt x="14777" y="10673"/>
                    </a:cubicBezTo>
                    <a:cubicBezTo>
                      <a:pt x="22987" y="3284"/>
                      <a:pt x="34480" y="0"/>
                      <a:pt x="48437" y="0"/>
                    </a:cubicBezTo>
                    <a:cubicBezTo>
                      <a:pt x="59109" y="0"/>
                      <a:pt x="68961" y="1642"/>
                      <a:pt x="77171" y="5747"/>
                    </a:cubicBezTo>
                    <a:cubicBezTo>
                      <a:pt x="85380" y="9852"/>
                      <a:pt x="91948" y="15598"/>
                      <a:pt x="96053" y="22166"/>
                    </a:cubicBezTo>
                    <a:lnTo>
                      <a:pt x="76350" y="37764"/>
                    </a:lnTo>
                    <a:cubicBezTo>
                      <a:pt x="68961" y="27913"/>
                      <a:pt x="59930" y="22987"/>
                      <a:pt x="48437" y="22987"/>
                    </a:cubicBezTo>
                    <a:cubicBezTo>
                      <a:pt x="41869" y="22987"/>
                      <a:pt x="37764" y="24629"/>
                      <a:pt x="34480" y="27092"/>
                    </a:cubicBezTo>
                    <a:cubicBezTo>
                      <a:pt x="31197" y="29555"/>
                      <a:pt x="29555" y="32839"/>
                      <a:pt x="29555" y="37764"/>
                    </a:cubicBezTo>
                    <a:cubicBezTo>
                      <a:pt x="29555" y="41048"/>
                      <a:pt x="30376" y="43511"/>
                      <a:pt x="32839" y="45974"/>
                    </a:cubicBezTo>
                    <a:cubicBezTo>
                      <a:pt x="35301" y="48437"/>
                      <a:pt x="39406" y="50079"/>
                      <a:pt x="45974" y="51721"/>
                    </a:cubicBezTo>
                    <a:lnTo>
                      <a:pt x="65677" y="56647"/>
                    </a:lnTo>
                    <a:cubicBezTo>
                      <a:pt x="87022" y="62393"/>
                      <a:pt x="98516" y="74708"/>
                      <a:pt x="98516" y="93590"/>
                    </a:cubicBezTo>
                    <a:cubicBezTo>
                      <a:pt x="98516" y="105904"/>
                      <a:pt x="94411" y="115756"/>
                      <a:pt x="85380" y="123145"/>
                    </a:cubicBezTo>
                    <a:cubicBezTo>
                      <a:pt x="77992" y="131354"/>
                      <a:pt x="66498" y="134638"/>
                      <a:pt x="51721" y="13463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2" name="Vrije vorm: vorm 71">
                <a:extLst>
                  <a:ext uri="{FF2B5EF4-FFF2-40B4-BE49-F238E27FC236}">
                    <a16:creationId xmlns:a16="http://schemas.microsoft.com/office/drawing/2014/main" id="{733785FF-5A08-4C10-8743-FB2B2A627FA5}"/>
                  </a:ext>
                </a:extLst>
              </p:cNvPr>
              <p:cNvSpPr/>
              <p:nvPr/>
            </p:nvSpPr>
            <p:spPr>
              <a:xfrm>
                <a:off x="10936257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5005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3" name="Vrije vorm: vorm 72">
                <a:extLst>
                  <a:ext uri="{FF2B5EF4-FFF2-40B4-BE49-F238E27FC236}">
                    <a16:creationId xmlns:a16="http://schemas.microsoft.com/office/drawing/2014/main" id="{6E36CED6-AAB9-48E2-8C6D-683B65D52FF5}"/>
                  </a:ext>
                </a:extLst>
              </p:cNvPr>
              <p:cNvSpPr/>
              <p:nvPr/>
            </p:nvSpPr>
            <p:spPr>
              <a:xfrm>
                <a:off x="11040519" y="6386764"/>
                <a:ext cx="56646" cy="96052"/>
              </a:xfrm>
              <a:custGeom>
                <a:avLst/>
                <a:gdLst>
                  <a:gd name="connsiteX0" fmla="*/ 49258 w 56646"/>
                  <a:gd name="connsiteY0" fmla="*/ 0 h 96052"/>
                  <a:gd name="connsiteX1" fmla="*/ 56647 w 56646"/>
                  <a:gd name="connsiteY1" fmla="*/ 821 h 96052"/>
                  <a:gd name="connsiteX2" fmla="*/ 56647 w 56646"/>
                  <a:gd name="connsiteY2" fmla="*/ 24629 h 96052"/>
                  <a:gd name="connsiteX3" fmla="*/ 45974 w 56646"/>
                  <a:gd name="connsiteY3" fmla="*/ 23808 h 96052"/>
                  <a:gd name="connsiteX4" fmla="*/ 29555 w 56646"/>
                  <a:gd name="connsiteY4" fmla="*/ 30376 h 96052"/>
                  <a:gd name="connsiteX5" fmla="*/ 24629 w 56646"/>
                  <a:gd name="connsiteY5" fmla="*/ 50079 h 96052"/>
                  <a:gd name="connsiteX6" fmla="*/ 24629 w 56646"/>
                  <a:gd name="connsiteY6" fmla="*/ 96053 h 96052"/>
                  <a:gd name="connsiteX7" fmla="*/ 0 w 56646"/>
                  <a:gd name="connsiteY7" fmla="*/ 96053 h 96052"/>
                  <a:gd name="connsiteX8" fmla="*/ 0 w 56646"/>
                  <a:gd name="connsiteY8" fmla="*/ 2463 h 96052"/>
                  <a:gd name="connsiteX9" fmla="*/ 24629 w 56646"/>
                  <a:gd name="connsiteY9" fmla="*/ 2463 h 96052"/>
                  <a:gd name="connsiteX10" fmla="*/ 24629 w 56646"/>
                  <a:gd name="connsiteY10" fmla="*/ 17240 h 96052"/>
                  <a:gd name="connsiteX11" fmla="*/ 34480 w 56646"/>
                  <a:gd name="connsiteY11" fmla="*/ 4926 h 96052"/>
                  <a:gd name="connsiteX12" fmla="*/ 49258 w 56646"/>
                  <a:gd name="connsiteY12" fmla="*/ 0 h 96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646" h="96052">
                    <a:moveTo>
                      <a:pt x="49258" y="0"/>
                    </a:moveTo>
                    <a:cubicBezTo>
                      <a:pt x="51721" y="0"/>
                      <a:pt x="54184" y="0"/>
                      <a:pt x="56647" y="821"/>
                    </a:cubicBezTo>
                    <a:lnTo>
                      <a:pt x="56647" y="24629"/>
                    </a:lnTo>
                    <a:cubicBezTo>
                      <a:pt x="52542" y="23808"/>
                      <a:pt x="49258" y="23808"/>
                      <a:pt x="45974" y="23808"/>
                    </a:cubicBezTo>
                    <a:cubicBezTo>
                      <a:pt x="38585" y="23808"/>
                      <a:pt x="32839" y="26271"/>
                      <a:pt x="29555" y="30376"/>
                    </a:cubicBezTo>
                    <a:cubicBezTo>
                      <a:pt x="26271" y="34481"/>
                      <a:pt x="24629" y="41048"/>
                      <a:pt x="24629" y="50079"/>
                    </a:cubicBezTo>
                    <a:lnTo>
                      <a:pt x="24629" y="96053"/>
                    </a:lnTo>
                    <a:lnTo>
                      <a:pt x="0" y="96053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7240"/>
                    </a:lnTo>
                    <a:cubicBezTo>
                      <a:pt x="27092" y="12314"/>
                      <a:pt x="30376" y="8210"/>
                      <a:pt x="34480" y="4926"/>
                    </a:cubicBezTo>
                    <a:cubicBezTo>
                      <a:pt x="38585" y="1642"/>
                      <a:pt x="43511" y="0"/>
                      <a:pt x="49258" y="0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4" name="Vrije vorm: vorm 73">
                <a:extLst>
                  <a:ext uri="{FF2B5EF4-FFF2-40B4-BE49-F238E27FC236}">
                    <a16:creationId xmlns:a16="http://schemas.microsoft.com/office/drawing/2014/main" id="{19921575-F468-4824-BBED-A05F1CF57FE6}"/>
                  </a:ext>
                </a:extLst>
              </p:cNvPr>
              <p:cNvSpPr/>
              <p:nvPr/>
            </p:nvSpPr>
            <p:spPr>
              <a:xfrm>
                <a:off x="11105375" y="6389227"/>
                <a:ext cx="91947" cy="93589"/>
              </a:xfrm>
              <a:custGeom>
                <a:avLst/>
                <a:gdLst>
                  <a:gd name="connsiteX0" fmla="*/ 91948 w 91947"/>
                  <a:gd name="connsiteY0" fmla="*/ 0 h 93589"/>
                  <a:gd name="connsiteX1" fmla="*/ 59930 w 91947"/>
                  <a:gd name="connsiteY1" fmla="*/ 93590 h 93589"/>
                  <a:gd name="connsiteX2" fmla="*/ 32018 w 91947"/>
                  <a:gd name="connsiteY2" fmla="*/ 93590 h 93589"/>
                  <a:gd name="connsiteX3" fmla="*/ 0 w 91947"/>
                  <a:gd name="connsiteY3" fmla="*/ 0 h 93589"/>
                  <a:gd name="connsiteX4" fmla="*/ 27092 w 91947"/>
                  <a:gd name="connsiteY4" fmla="*/ 0 h 93589"/>
                  <a:gd name="connsiteX5" fmla="*/ 45974 w 91947"/>
                  <a:gd name="connsiteY5" fmla="*/ 62393 h 93589"/>
                  <a:gd name="connsiteX6" fmla="*/ 65677 w 91947"/>
                  <a:gd name="connsiteY6" fmla="*/ 0 h 93589"/>
                  <a:gd name="connsiteX7" fmla="*/ 91948 w 91947"/>
                  <a:gd name="connsiteY7" fmla="*/ 0 h 93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947" h="93589">
                    <a:moveTo>
                      <a:pt x="91948" y="0"/>
                    </a:moveTo>
                    <a:lnTo>
                      <a:pt x="59930" y="93590"/>
                    </a:lnTo>
                    <a:lnTo>
                      <a:pt x="32018" y="93590"/>
                    </a:lnTo>
                    <a:lnTo>
                      <a:pt x="0" y="0"/>
                    </a:lnTo>
                    <a:lnTo>
                      <a:pt x="27092" y="0"/>
                    </a:lnTo>
                    <a:lnTo>
                      <a:pt x="45974" y="62393"/>
                    </a:lnTo>
                    <a:lnTo>
                      <a:pt x="65677" y="0"/>
                    </a:lnTo>
                    <a:lnTo>
                      <a:pt x="91948" y="0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5" name="Vrije vorm: vorm 74">
                <a:extLst>
                  <a:ext uri="{FF2B5EF4-FFF2-40B4-BE49-F238E27FC236}">
                    <a16:creationId xmlns:a16="http://schemas.microsoft.com/office/drawing/2014/main" id="{94544598-5D50-4B82-AFDD-27A7BC1F9906}"/>
                  </a:ext>
                </a:extLst>
              </p:cNvPr>
              <p:cNvSpPr/>
              <p:nvPr/>
            </p:nvSpPr>
            <p:spPr>
              <a:xfrm>
                <a:off x="11207996" y="6344074"/>
                <a:ext cx="29554" cy="138743"/>
              </a:xfrm>
              <a:custGeom>
                <a:avLst/>
                <a:gdLst>
                  <a:gd name="connsiteX0" fmla="*/ 14777 w 29554"/>
                  <a:gd name="connsiteY0" fmla="*/ 30376 h 138743"/>
                  <a:gd name="connsiteX1" fmla="*/ 4105 w 29554"/>
                  <a:gd name="connsiteY1" fmla="*/ 25450 h 138743"/>
                  <a:gd name="connsiteX2" fmla="*/ 0 w 29554"/>
                  <a:gd name="connsiteY2" fmla="*/ 14777 h 138743"/>
                  <a:gd name="connsiteX3" fmla="*/ 4105 w 29554"/>
                  <a:gd name="connsiteY3" fmla="*/ 4105 h 138743"/>
                  <a:gd name="connsiteX4" fmla="*/ 14777 w 29554"/>
                  <a:gd name="connsiteY4" fmla="*/ 0 h 138743"/>
                  <a:gd name="connsiteX5" fmla="*/ 25450 w 29554"/>
                  <a:gd name="connsiteY5" fmla="*/ 4105 h 138743"/>
                  <a:gd name="connsiteX6" fmla="*/ 29555 w 29554"/>
                  <a:gd name="connsiteY6" fmla="*/ 15598 h 138743"/>
                  <a:gd name="connsiteX7" fmla="*/ 25450 w 29554"/>
                  <a:gd name="connsiteY7" fmla="*/ 26271 h 138743"/>
                  <a:gd name="connsiteX8" fmla="*/ 14777 w 29554"/>
                  <a:gd name="connsiteY8" fmla="*/ 30376 h 138743"/>
                  <a:gd name="connsiteX9" fmla="*/ 1642 w 29554"/>
                  <a:gd name="connsiteY9" fmla="*/ 45153 h 138743"/>
                  <a:gd name="connsiteX10" fmla="*/ 27092 w 29554"/>
                  <a:gd name="connsiteY10" fmla="*/ 45153 h 138743"/>
                  <a:gd name="connsiteX11" fmla="*/ 27092 w 29554"/>
                  <a:gd name="connsiteY11" fmla="*/ 138743 h 138743"/>
                  <a:gd name="connsiteX12" fmla="*/ 1642 w 29554"/>
                  <a:gd name="connsiteY12" fmla="*/ 138743 h 138743"/>
                  <a:gd name="connsiteX13" fmla="*/ 1642 w 29554"/>
                  <a:gd name="connsiteY13" fmla="*/ 45153 h 138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9554" h="138743">
                    <a:moveTo>
                      <a:pt x="14777" y="30376"/>
                    </a:moveTo>
                    <a:cubicBezTo>
                      <a:pt x="10672" y="30376"/>
                      <a:pt x="7389" y="28734"/>
                      <a:pt x="4105" y="25450"/>
                    </a:cubicBezTo>
                    <a:cubicBezTo>
                      <a:pt x="821" y="22166"/>
                      <a:pt x="0" y="18882"/>
                      <a:pt x="0" y="14777"/>
                    </a:cubicBezTo>
                    <a:cubicBezTo>
                      <a:pt x="0" y="10673"/>
                      <a:pt x="1642" y="6568"/>
                      <a:pt x="4105" y="4105"/>
                    </a:cubicBezTo>
                    <a:cubicBezTo>
                      <a:pt x="7389" y="821"/>
                      <a:pt x="10672" y="0"/>
                      <a:pt x="14777" y="0"/>
                    </a:cubicBezTo>
                    <a:cubicBezTo>
                      <a:pt x="18882" y="0"/>
                      <a:pt x="22166" y="1642"/>
                      <a:pt x="25450" y="4105"/>
                    </a:cubicBezTo>
                    <a:cubicBezTo>
                      <a:pt x="27913" y="7389"/>
                      <a:pt x="29555" y="10673"/>
                      <a:pt x="29555" y="15598"/>
                    </a:cubicBezTo>
                    <a:cubicBezTo>
                      <a:pt x="29555" y="19703"/>
                      <a:pt x="27913" y="23808"/>
                      <a:pt x="25450" y="26271"/>
                    </a:cubicBezTo>
                    <a:cubicBezTo>
                      <a:pt x="22166" y="29555"/>
                      <a:pt x="18882" y="30376"/>
                      <a:pt x="14777" y="30376"/>
                    </a:cubicBezTo>
                    <a:close/>
                    <a:moveTo>
                      <a:pt x="1642" y="45153"/>
                    </a:moveTo>
                    <a:lnTo>
                      <a:pt x="27092" y="45153"/>
                    </a:lnTo>
                    <a:lnTo>
                      <a:pt x="27092" y="138743"/>
                    </a:lnTo>
                    <a:lnTo>
                      <a:pt x="1642" y="138743"/>
                    </a:lnTo>
                    <a:lnTo>
                      <a:pt x="1642" y="4515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1E01D863-5B2E-46C6-8815-31DC0D45845A}"/>
                  </a:ext>
                </a:extLst>
              </p:cNvPr>
              <p:cNvSpPr/>
              <p:nvPr/>
            </p:nvSpPr>
            <p:spPr>
              <a:xfrm>
                <a:off x="11252328" y="6385122"/>
                <a:ext cx="83738" cy="100157"/>
              </a:xfrm>
              <a:custGeom>
                <a:avLst/>
                <a:gdLst>
                  <a:gd name="connsiteX0" fmla="*/ 44332 w 83738"/>
                  <a:gd name="connsiteY0" fmla="*/ 100158 h 100157"/>
                  <a:gd name="connsiteX1" fmla="*/ 12314 w 83738"/>
                  <a:gd name="connsiteY1" fmla="*/ 86201 h 100157"/>
                  <a:gd name="connsiteX2" fmla="*/ 0 w 83738"/>
                  <a:gd name="connsiteY2" fmla="*/ 50079 h 100157"/>
                  <a:gd name="connsiteX3" fmla="*/ 12314 w 83738"/>
                  <a:gd name="connsiteY3" fmla="*/ 13956 h 100157"/>
                  <a:gd name="connsiteX4" fmla="*/ 44332 w 83738"/>
                  <a:gd name="connsiteY4" fmla="*/ 0 h 100157"/>
                  <a:gd name="connsiteX5" fmla="*/ 68140 w 83738"/>
                  <a:gd name="connsiteY5" fmla="*/ 6568 h 100157"/>
                  <a:gd name="connsiteX6" fmla="*/ 83738 w 83738"/>
                  <a:gd name="connsiteY6" fmla="*/ 25450 h 100157"/>
                  <a:gd name="connsiteX7" fmla="*/ 63214 w 83738"/>
                  <a:gd name="connsiteY7" fmla="*/ 36943 h 100157"/>
                  <a:gd name="connsiteX8" fmla="*/ 45153 w 83738"/>
                  <a:gd name="connsiteY8" fmla="*/ 22166 h 100157"/>
                  <a:gd name="connsiteX9" fmla="*/ 30376 w 83738"/>
                  <a:gd name="connsiteY9" fmla="*/ 29555 h 100157"/>
                  <a:gd name="connsiteX10" fmla="*/ 24629 w 83738"/>
                  <a:gd name="connsiteY10" fmla="*/ 49258 h 100157"/>
                  <a:gd name="connsiteX11" fmla="*/ 30376 w 83738"/>
                  <a:gd name="connsiteY11" fmla="*/ 68961 h 100157"/>
                  <a:gd name="connsiteX12" fmla="*/ 45153 w 83738"/>
                  <a:gd name="connsiteY12" fmla="*/ 76350 h 100157"/>
                  <a:gd name="connsiteX13" fmla="*/ 63214 w 83738"/>
                  <a:gd name="connsiteY13" fmla="*/ 62393 h 100157"/>
                  <a:gd name="connsiteX14" fmla="*/ 83738 w 83738"/>
                  <a:gd name="connsiteY14" fmla="*/ 73887 h 100157"/>
                  <a:gd name="connsiteX15" fmla="*/ 68140 w 83738"/>
                  <a:gd name="connsiteY15" fmla="*/ 92769 h 100157"/>
                  <a:gd name="connsiteX16" fmla="*/ 44332 w 83738"/>
                  <a:gd name="connsiteY16" fmla="*/ 100158 h 10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738" h="100157">
                    <a:moveTo>
                      <a:pt x="44332" y="100158"/>
                    </a:moveTo>
                    <a:cubicBezTo>
                      <a:pt x="31197" y="100158"/>
                      <a:pt x="20524" y="95232"/>
                      <a:pt x="12314" y="86201"/>
                    </a:cubicBezTo>
                    <a:cubicBezTo>
                      <a:pt x="4105" y="77171"/>
                      <a:pt x="0" y="64856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105"/>
                      <a:pt x="31197" y="0"/>
                      <a:pt x="44332" y="0"/>
                    </a:cubicBezTo>
                    <a:cubicBezTo>
                      <a:pt x="53363" y="0"/>
                      <a:pt x="61572" y="2463"/>
                      <a:pt x="68140" y="6568"/>
                    </a:cubicBezTo>
                    <a:cubicBezTo>
                      <a:pt x="74708" y="10673"/>
                      <a:pt x="80454" y="17240"/>
                      <a:pt x="83738" y="25450"/>
                    </a:cubicBezTo>
                    <a:lnTo>
                      <a:pt x="63214" y="36943"/>
                    </a:lnTo>
                    <a:cubicBezTo>
                      <a:pt x="59109" y="27092"/>
                      <a:pt x="52542" y="22166"/>
                      <a:pt x="45153" y="22166"/>
                    </a:cubicBezTo>
                    <a:cubicBezTo>
                      <a:pt x="38585" y="22166"/>
                      <a:pt x="33660" y="24629"/>
                      <a:pt x="30376" y="29555"/>
                    </a:cubicBezTo>
                    <a:cubicBezTo>
                      <a:pt x="27092" y="34481"/>
                      <a:pt x="24629" y="41048"/>
                      <a:pt x="24629" y="49258"/>
                    </a:cubicBezTo>
                    <a:cubicBezTo>
                      <a:pt x="24629" y="57468"/>
                      <a:pt x="26271" y="64035"/>
                      <a:pt x="30376" y="68961"/>
                    </a:cubicBezTo>
                    <a:cubicBezTo>
                      <a:pt x="34480" y="73887"/>
                      <a:pt x="39406" y="76350"/>
                      <a:pt x="45153" y="76350"/>
                    </a:cubicBezTo>
                    <a:cubicBezTo>
                      <a:pt x="53363" y="76350"/>
                      <a:pt x="59109" y="71424"/>
                      <a:pt x="63214" y="62393"/>
                    </a:cubicBezTo>
                    <a:lnTo>
                      <a:pt x="83738" y="73887"/>
                    </a:lnTo>
                    <a:cubicBezTo>
                      <a:pt x="80454" y="82096"/>
                      <a:pt x="74708" y="88664"/>
                      <a:pt x="68140" y="92769"/>
                    </a:cubicBezTo>
                    <a:cubicBezTo>
                      <a:pt x="61572" y="98516"/>
                      <a:pt x="53363" y="100158"/>
                      <a:pt x="44332" y="100158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77" name="Vrije vorm: vorm 76">
                <a:extLst>
                  <a:ext uri="{FF2B5EF4-FFF2-40B4-BE49-F238E27FC236}">
                    <a16:creationId xmlns:a16="http://schemas.microsoft.com/office/drawing/2014/main" id="{0A446276-2878-4074-934E-A3DCC1FF7E3E}"/>
                  </a:ext>
                </a:extLst>
              </p:cNvPr>
              <p:cNvSpPr/>
              <p:nvPr/>
            </p:nvSpPr>
            <p:spPr>
              <a:xfrm>
                <a:off x="11343455" y="6385943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4559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grpSp>
          <p:nvGrpSpPr>
            <p:cNvPr id="78" name="Graphic 69">
              <a:extLst>
                <a:ext uri="{FF2B5EF4-FFF2-40B4-BE49-F238E27FC236}">
                  <a16:creationId xmlns:a16="http://schemas.microsoft.com/office/drawing/2014/main" id="{4A1AC69C-38AD-4748-AE29-AE2BE1CAC83B}"/>
                </a:ext>
              </a:extLst>
            </p:cNvPr>
            <p:cNvGrpSpPr/>
            <p:nvPr/>
          </p:nvGrpSpPr>
          <p:grpSpPr>
            <a:xfrm>
              <a:off x="10823785" y="6540284"/>
              <a:ext cx="807007" cy="172402"/>
              <a:chOff x="10823785" y="6540284"/>
              <a:chExt cx="807007" cy="172402"/>
            </a:xfrm>
            <a:solidFill>
              <a:srgbClr val="002C55"/>
            </a:solidFill>
          </p:grpSpPr>
          <p:sp>
            <p:nvSpPr>
              <p:cNvPr id="79" name="Vrije vorm: vorm 78">
                <a:extLst>
                  <a:ext uri="{FF2B5EF4-FFF2-40B4-BE49-F238E27FC236}">
                    <a16:creationId xmlns:a16="http://schemas.microsoft.com/office/drawing/2014/main" id="{F3479BA3-DE9B-40C8-9B90-831EC2D6CDEA}"/>
                  </a:ext>
                </a:extLst>
              </p:cNvPr>
              <p:cNvSpPr/>
              <p:nvPr/>
            </p:nvSpPr>
            <p:spPr>
              <a:xfrm>
                <a:off x="10823785" y="6546031"/>
                <a:ext cx="121502" cy="129712"/>
              </a:xfrm>
              <a:custGeom>
                <a:avLst/>
                <a:gdLst>
                  <a:gd name="connsiteX0" fmla="*/ 84559 w 121502"/>
                  <a:gd name="connsiteY0" fmla="*/ 100979 h 129712"/>
                  <a:gd name="connsiteX1" fmla="*/ 36943 w 121502"/>
                  <a:gd name="connsiteY1" fmla="*/ 100979 h 129712"/>
                  <a:gd name="connsiteX2" fmla="*/ 27092 w 121502"/>
                  <a:gd name="connsiteY2" fmla="*/ 129712 h 129712"/>
                  <a:gd name="connsiteX3" fmla="*/ 0 w 121502"/>
                  <a:gd name="connsiteY3" fmla="*/ 129712 h 129712"/>
                  <a:gd name="connsiteX4" fmla="*/ 45974 w 121502"/>
                  <a:gd name="connsiteY4" fmla="*/ 0 h 129712"/>
                  <a:gd name="connsiteX5" fmla="*/ 75529 w 121502"/>
                  <a:gd name="connsiteY5" fmla="*/ 0 h 129712"/>
                  <a:gd name="connsiteX6" fmla="*/ 121503 w 121502"/>
                  <a:gd name="connsiteY6" fmla="*/ 129712 h 129712"/>
                  <a:gd name="connsiteX7" fmla="*/ 93590 w 121502"/>
                  <a:gd name="connsiteY7" fmla="*/ 129712 h 129712"/>
                  <a:gd name="connsiteX8" fmla="*/ 84559 w 121502"/>
                  <a:gd name="connsiteY8" fmla="*/ 100979 h 129712"/>
                  <a:gd name="connsiteX9" fmla="*/ 77171 w 121502"/>
                  <a:gd name="connsiteY9" fmla="*/ 78813 h 129712"/>
                  <a:gd name="connsiteX10" fmla="*/ 60751 w 121502"/>
                  <a:gd name="connsiteY10" fmla="*/ 28734 h 129712"/>
                  <a:gd name="connsiteX11" fmla="*/ 44332 w 121502"/>
                  <a:gd name="connsiteY11" fmla="*/ 78813 h 129712"/>
                  <a:gd name="connsiteX12" fmla="*/ 77171 w 121502"/>
                  <a:gd name="connsiteY12" fmla="*/ 78813 h 12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1502" h="129712">
                    <a:moveTo>
                      <a:pt x="84559" y="100979"/>
                    </a:moveTo>
                    <a:lnTo>
                      <a:pt x="36943" y="100979"/>
                    </a:lnTo>
                    <a:lnTo>
                      <a:pt x="27092" y="129712"/>
                    </a:lnTo>
                    <a:lnTo>
                      <a:pt x="0" y="129712"/>
                    </a:lnTo>
                    <a:lnTo>
                      <a:pt x="45974" y="0"/>
                    </a:lnTo>
                    <a:lnTo>
                      <a:pt x="75529" y="0"/>
                    </a:lnTo>
                    <a:lnTo>
                      <a:pt x="121503" y="129712"/>
                    </a:lnTo>
                    <a:lnTo>
                      <a:pt x="93590" y="129712"/>
                    </a:lnTo>
                    <a:lnTo>
                      <a:pt x="84559" y="100979"/>
                    </a:lnTo>
                    <a:close/>
                    <a:moveTo>
                      <a:pt x="77171" y="78813"/>
                    </a:moveTo>
                    <a:lnTo>
                      <a:pt x="60751" y="28734"/>
                    </a:lnTo>
                    <a:lnTo>
                      <a:pt x="44332" y="78813"/>
                    </a:lnTo>
                    <a:lnTo>
                      <a:pt x="77171" y="78813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0" name="Vrije vorm: vorm 79">
                <a:extLst>
                  <a:ext uri="{FF2B5EF4-FFF2-40B4-BE49-F238E27FC236}">
                    <a16:creationId xmlns:a16="http://schemas.microsoft.com/office/drawing/2014/main" id="{2ABA21F2-8D57-4755-B480-AF4D0F79A55E}"/>
                  </a:ext>
                </a:extLst>
              </p:cNvPr>
              <p:cNvSpPr/>
              <p:nvPr/>
            </p:nvSpPr>
            <p:spPr>
              <a:xfrm>
                <a:off x="10956781" y="6578870"/>
                <a:ext cx="91948" cy="133817"/>
              </a:xfrm>
              <a:custGeom>
                <a:avLst/>
                <a:gdLst>
                  <a:gd name="connsiteX0" fmla="*/ 53363 w 91948"/>
                  <a:gd name="connsiteY0" fmla="*/ 0 h 133817"/>
                  <a:gd name="connsiteX1" fmla="*/ 81275 w 91948"/>
                  <a:gd name="connsiteY1" fmla="*/ 13956 h 133817"/>
                  <a:gd name="connsiteX2" fmla="*/ 91948 w 91948"/>
                  <a:gd name="connsiteY2" fmla="*/ 49258 h 133817"/>
                  <a:gd name="connsiteX3" fmla="*/ 81275 w 91948"/>
                  <a:gd name="connsiteY3" fmla="*/ 85380 h 133817"/>
                  <a:gd name="connsiteX4" fmla="*/ 53363 w 91948"/>
                  <a:gd name="connsiteY4" fmla="*/ 99337 h 133817"/>
                  <a:gd name="connsiteX5" fmla="*/ 36943 w 91948"/>
                  <a:gd name="connsiteY5" fmla="*/ 95232 h 133817"/>
                  <a:gd name="connsiteX6" fmla="*/ 25450 w 91948"/>
                  <a:gd name="connsiteY6" fmla="*/ 83738 h 133817"/>
                  <a:gd name="connsiteX7" fmla="*/ 25450 w 91948"/>
                  <a:gd name="connsiteY7" fmla="*/ 133817 h 133817"/>
                  <a:gd name="connsiteX8" fmla="*/ 0 w 91948"/>
                  <a:gd name="connsiteY8" fmla="*/ 133817 h 133817"/>
                  <a:gd name="connsiteX9" fmla="*/ 0 w 91948"/>
                  <a:gd name="connsiteY9" fmla="*/ 2463 h 133817"/>
                  <a:gd name="connsiteX10" fmla="*/ 24629 w 91948"/>
                  <a:gd name="connsiteY10" fmla="*/ 2463 h 133817"/>
                  <a:gd name="connsiteX11" fmla="*/ 24629 w 91948"/>
                  <a:gd name="connsiteY11" fmla="*/ 16419 h 133817"/>
                  <a:gd name="connsiteX12" fmla="*/ 36122 w 91948"/>
                  <a:gd name="connsiteY12" fmla="*/ 4105 h 133817"/>
                  <a:gd name="connsiteX13" fmla="*/ 53363 w 91948"/>
                  <a:gd name="connsiteY13" fmla="*/ 0 h 133817"/>
                  <a:gd name="connsiteX14" fmla="*/ 45974 w 91948"/>
                  <a:gd name="connsiteY14" fmla="*/ 77171 h 133817"/>
                  <a:gd name="connsiteX15" fmla="*/ 61572 w 91948"/>
                  <a:gd name="connsiteY15" fmla="*/ 69782 h 133817"/>
                  <a:gd name="connsiteX16" fmla="*/ 67319 w 91948"/>
                  <a:gd name="connsiteY16" fmla="*/ 50079 h 133817"/>
                  <a:gd name="connsiteX17" fmla="*/ 61572 w 91948"/>
                  <a:gd name="connsiteY17" fmla="*/ 30376 h 133817"/>
                  <a:gd name="connsiteX18" fmla="*/ 45974 w 91948"/>
                  <a:gd name="connsiteY18" fmla="*/ 22987 h 133817"/>
                  <a:gd name="connsiteX19" fmla="*/ 30376 w 91948"/>
                  <a:gd name="connsiteY19" fmla="*/ 30376 h 133817"/>
                  <a:gd name="connsiteX20" fmla="*/ 24629 w 91948"/>
                  <a:gd name="connsiteY20" fmla="*/ 50079 h 133817"/>
                  <a:gd name="connsiteX21" fmla="*/ 30376 w 91948"/>
                  <a:gd name="connsiteY21" fmla="*/ 69782 h 133817"/>
                  <a:gd name="connsiteX22" fmla="*/ 45974 w 91948"/>
                  <a:gd name="connsiteY22" fmla="*/ 77171 h 13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948" h="133817">
                    <a:moveTo>
                      <a:pt x="53363" y="0"/>
                    </a:moveTo>
                    <a:cubicBezTo>
                      <a:pt x="64856" y="0"/>
                      <a:pt x="73887" y="4926"/>
                      <a:pt x="81275" y="13956"/>
                    </a:cubicBezTo>
                    <a:cubicBezTo>
                      <a:pt x="88664" y="22987"/>
                      <a:pt x="91948" y="35301"/>
                      <a:pt x="91948" y="49258"/>
                    </a:cubicBezTo>
                    <a:cubicBezTo>
                      <a:pt x="91948" y="64035"/>
                      <a:pt x="88664" y="75529"/>
                      <a:pt x="81275" y="85380"/>
                    </a:cubicBezTo>
                    <a:cubicBezTo>
                      <a:pt x="73887" y="94411"/>
                      <a:pt x="64856" y="99337"/>
                      <a:pt x="53363" y="99337"/>
                    </a:cubicBezTo>
                    <a:cubicBezTo>
                      <a:pt x="47616" y="99337"/>
                      <a:pt x="41869" y="97695"/>
                      <a:pt x="36943" y="95232"/>
                    </a:cubicBezTo>
                    <a:cubicBezTo>
                      <a:pt x="32018" y="92769"/>
                      <a:pt x="27913" y="88664"/>
                      <a:pt x="25450" y="83738"/>
                    </a:cubicBezTo>
                    <a:lnTo>
                      <a:pt x="25450" y="133817"/>
                    </a:lnTo>
                    <a:lnTo>
                      <a:pt x="0" y="133817"/>
                    </a:lnTo>
                    <a:lnTo>
                      <a:pt x="0" y="2463"/>
                    </a:lnTo>
                    <a:lnTo>
                      <a:pt x="24629" y="2463"/>
                    </a:lnTo>
                    <a:lnTo>
                      <a:pt x="24629" y="16419"/>
                    </a:lnTo>
                    <a:cubicBezTo>
                      <a:pt x="27092" y="11494"/>
                      <a:pt x="30376" y="7389"/>
                      <a:pt x="36122" y="4105"/>
                    </a:cubicBezTo>
                    <a:cubicBezTo>
                      <a:pt x="41869" y="821"/>
                      <a:pt x="46795" y="0"/>
                      <a:pt x="53363" y="0"/>
                    </a:cubicBezTo>
                    <a:close/>
                    <a:moveTo>
                      <a:pt x="45974" y="77171"/>
                    </a:moveTo>
                    <a:cubicBezTo>
                      <a:pt x="52542" y="77171"/>
                      <a:pt x="57468" y="74708"/>
                      <a:pt x="61572" y="69782"/>
                    </a:cubicBezTo>
                    <a:cubicBezTo>
                      <a:pt x="65677" y="64856"/>
                      <a:pt x="67319" y="58288"/>
                      <a:pt x="67319" y="50079"/>
                    </a:cubicBezTo>
                    <a:cubicBezTo>
                      <a:pt x="67319" y="41869"/>
                      <a:pt x="65677" y="35301"/>
                      <a:pt x="61572" y="30376"/>
                    </a:cubicBezTo>
                    <a:cubicBezTo>
                      <a:pt x="57468" y="25450"/>
                      <a:pt x="52542" y="22987"/>
                      <a:pt x="45974" y="22987"/>
                    </a:cubicBezTo>
                    <a:cubicBezTo>
                      <a:pt x="39406" y="22987"/>
                      <a:pt x="34481" y="25450"/>
                      <a:pt x="30376" y="30376"/>
                    </a:cubicBezTo>
                    <a:cubicBezTo>
                      <a:pt x="26271" y="35301"/>
                      <a:pt x="24629" y="41869"/>
                      <a:pt x="24629" y="50079"/>
                    </a:cubicBezTo>
                    <a:cubicBezTo>
                      <a:pt x="24629" y="58288"/>
                      <a:pt x="26271" y="64856"/>
                      <a:pt x="30376" y="69782"/>
                    </a:cubicBezTo>
                    <a:cubicBezTo>
                      <a:pt x="34481" y="74708"/>
                      <a:pt x="39406" y="77171"/>
                      <a:pt x="45974" y="7717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1" name="Vrije vorm: vorm 80">
                <a:extLst>
                  <a:ext uri="{FF2B5EF4-FFF2-40B4-BE49-F238E27FC236}">
                    <a16:creationId xmlns:a16="http://schemas.microsoft.com/office/drawing/2014/main" id="{3E4BD26B-F57C-4322-BA5E-80A51677A23B}"/>
                  </a:ext>
                </a:extLst>
              </p:cNvPr>
              <p:cNvSpPr/>
              <p:nvPr/>
            </p:nvSpPr>
            <p:spPr>
              <a:xfrm>
                <a:off x="11060222" y="6579691"/>
                <a:ext cx="93589" cy="98515"/>
              </a:xfrm>
              <a:custGeom>
                <a:avLst/>
                <a:gdLst>
                  <a:gd name="connsiteX0" fmla="*/ 46795 w 93589"/>
                  <a:gd name="connsiteY0" fmla="*/ 98516 h 98515"/>
                  <a:gd name="connsiteX1" fmla="*/ 22166 w 93589"/>
                  <a:gd name="connsiteY1" fmla="*/ 91948 h 98515"/>
                  <a:gd name="connsiteX2" fmla="*/ 5747 w 93589"/>
                  <a:gd name="connsiteY2" fmla="*/ 73887 h 98515"/>
                  <a:gd name="connsiteX3" fmla="*/ 0 w 93589"/>
                  <a:gd name="connsiteY3" fmla="*/ 49258 h 98515"/>
                  <a:gd name="connsiteX4" fmla="*/ 5747 w 93589"/>
                  <a:gd name="connsiteY4" fmla="*/ 24629 h 98515"/>
                  <a:gd name="connsiteX5" fmla="*/ 22166 w 93589"/>
                  <a:gd name="connsiteY5" fmla="*/ 6568 h 98515"/>
                  <a:gd name="connsiteX6" fmla="*/ 46795 w 93589"/>
                  <a:gd name="connsiteY6" fmla="*/ 0 h 98515"/>
                  <a:gd name="connsiteX7" fmla="*/ 71424 w 93589"/>
                  <a:gd name="connsiteY7" fmla="*/ 6568 h 98515"/>
                  <a:gd name="connsiteX8" fmla="*/ 87843 w 93589"/>
                  <a:gd name="connsiteY8" fmla="*/ 24629 h 98515"/>
                  <a:gd name="connsiteX9" fmla="*/ 93590 w 93589"/>
                  <a:gd name="connsiteY9" fmla="*/ 49258 h 98515"/>
                  <a:gd name="connsiteX10" fmla="*/ 87843 w 93589"/>
                  <a:gd name="connsiteY10" fmla="*/ 73887 h 98515"/>
                  <a:gd name="connsiteX11" fmla="*/ 71424 w 93589"/>
                  <a:gd name="connsiteY11" fmla="*/ 91948 h 98515"/>
                  <a:gd name="connsiteX12" fmla="*/ 46795 w 93589"/>
                  <a:gd name="connsiteY12" fmla="*/ 98516 h 98515"/>
                  <a:gd name="connsiteX13" fmla="*/ 32018 w 93589"/>
                  <a:gd name="connsiteY13" fmla="*/ 68961 h 98515"/>
                  <a:gd name="connsiteX14" fmla="*/ 47616 w 93589"/>
                  <a:gd name="connsiteY14" fmla="*/ 76350 h 98515"/>
                  <a:gd name="connsiteX15" fmla="*/ 63214 w 93589"/>
                  <a:gd name="connsiteY15" fmla="*/ 68961 h 98515"/>
                  <a:gd name="connsiteX16" fmla="*/ 68961 w 93589"/>
                  <a:gd name="connsiteY16" fmla="*/ 49258 h 98515"/>
                  <a:gd name="connsiteX17" fmla="*/ 63214 w 93589"/>
                  <a:gd name="connsiteY17" fmla="*/ 29555 h 98515"/>
                  <a:gd name="connsiteX18" fmla="*/ 47616 w 93589"/>
                  <a:gd name="connsiteY18" fmla="*/ 22166 h 98515"/>
                  <a:gd name="connsiteX19" fmla="*/ 32018 w 93589"/>
                  <a:gd name="connsiteY19" fmla="*/ 29555 h 98515"/>
                  <a:gd name="connsiteX20" fmla="*/ 26271 w 93589"/>
                  <a:gd name="connsiteY20" fmla="*/ 49258 h 98515"/>
                  <a:gd name="connsiteX21" fmla="*/ 32018 w 93589"/>
                  <a:gd name="connsiteY21" fmla="*/ 68961 h 98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3589" h="98515">
                    <a:moveTo>
                      <a:pt x="46795" y="98516"/>
                    </a:moveTo>
                    <a:cubicBezTo>
                      <a:pt x="37764" y="98516"/>
                      <a:pt x="29555" y="96053"/>
                      <a:pt x="22166" y="91948"/>
                    </a:cubicBezTo>
                    <a:cubicBezTo>
                      <a:pt x="14777" y="87843"/>
                      <a:pt x="9852" y="81276"/>
                      <a:pt x="5747" y="73887"/>
                    </a:cubicBezTo>
                    <a:cubicBezTo>
                      <a:pt x="1642" y="66498"/>
                      <a:pt x="0" y="58289"/>
                      <a:pt x="0" y="49258"/>
                    </a:cubicBezTo>
                    <a:cubicBezTo>
                      <a:pt x="0" y="40227"/>
                      <a:pt x="1642" y="32018"/>
                      <a:pt x="5747" y="24629"/>
                    </a:cubicBezTo>
                    <a:cubicBezTo>
                      <a:pt x="9852" y="17240"/>
                      <a:pt x="14777" y="11494"/>
                      <a:pt x="22166" y="6568"/>
                    </a:cubicBezTo>
                    <a:cubicBezTo>
                      <a:pt x="29555" y="2463"/>
                      <a:pt x="37764" y="0"/>
                      <a:pt x="46795" y="0"/>
                    </a:cubicBezTo>
                    <a:cubicBezTo>
                      <a:pt x="55826" y="0"/>
                      <a:pt x="64035" y="2463"/>
                      <a:pt x="71424" y="6568"/>
                    </a:cubicBezTo>
                    <a:cubicBezTo>
                      <a:pt x="78813" y="10673"/>
                      <a:pt x="83738" y="17240"/>
                      <a:pt x="87843" y="24629"/>
                    </a:cubicBezTo>
                    <a:cubicBezTo>
                      <a:pt x="91948" y="32018"/>
                      <a:pt x="93590" y="40227"/>
                      <a:pt x="93590" y="49258"/>
                    </a:cubicBezTo>
                    <a:cubicBezTo>
                      <a:pt x="93590" y="58289"/>
                      <a:pt x="91948" y="66498"/>
                      <a:pt x="87843" y="73887"/>
                    </a:cubicBezTo>
                    <a:cubicBezTo>
                      <a:pt x="83738" y="81276"/>
                      <a:pt x="78813" y="87022"/>
                      <a:pt x="71424" y="91948"/>
                    </a:cubicBezTo>
                    <a:cubicBezTo>
                      <a:pt x="64035" y="96053"/>
                      <a:pt x="55826" y="98516"/>
                      <a:pt x="46795" y="98516"/>
                    </a:cubicBezTo>
                    <a:close/>
                    <a:moveTo>
                      <a:pt x="32018" y="68961"/>
                    </a:moveTo>
                    <a:cubicBezTo>
                      <a:pt x="36122" y="73887"/>
                      <a:pt x="41048" y="76350"/>
                      <a:pt x="47616" y="76350"/>
                    </a:cubicBezTo>
                    <a:cubicBezTo>
                      <a:pt x="54184" y="76350"/>
                      <a:pt x="59109" y="73887"/>
                      <a:pt x="63214" y="68961"/>
                    </a:cubicBezTo>
                    <a:cubicBezTo>
                      <a:pt x="67319" y="64035"/>
                      <a:pt x="68961" y="57468"/>
                      <a:pt x="68961" y="49258"/>
                    </a:cubicBezTo>
                    <a:cubicBezTo>
                      <a:pt x="68961" y="41048"/>
                      <a:pt x="67319" y="34481"/>
                      <a:pt x="63214" y="29555"/>
                    </a:cubicBezTo>
                    <a:cubicBezTo>
                      <a:pt x="59109" y="24629"/>
                      <a:pt x="54184" y="22166"/>
                      <a:pt x="47616" y="22166"/>
                    </a:cubicBezTo>
                    <a:cubicBezTo>
                      <a:pt x="41048" y="22166"/>
                      <a:pt x="36122" y="24629"/>
                      <a:pt x="32018" y="29555"/>
                    </a:cubicBezTo>
                    <a:cubicBezTo>
                      <a:pt x="27913" y="34481"/>
                      <a:pt x="26271" y="41048"/>
                      <a:pt x="26271" y="49258"/>
                    </a:cubicBezTo>
                    <a:cubicBezTo>
                      <a:pt x="26271" y="56647"/>
                      <a:pt x="27913" y="63214"/>
                      <a:pt x="32018" y="68961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2" name="Vrije vorm: vorm 81">
                <a:extLst>
                  <a:ext uri="{FF2B5EF4-FFF2-40B4-BE49-F238E27FC236}">
                    <a16:creationId xmlns:a16="http://schemas.microsoft.com/office/drawing/2014/main" id="{B354839E-65F7-4C24-8EE9-EDA76C38F008}"/>
                  </a:ext>
                </a:extLst>
              </p:cNvPr>
              <p:cNvSpPr/>
              <p:nvPr/>
            </p:nvSpPr>
            <p:spPr>
              <a:xfrm>
                <a:off x="11161201" y="6554241"/>
                <a:ext cx="64035" cy="123144"/>
              </a:xfrm>
              <a:custGeom>
                <a:avLst/>
                <a:gdLst>
                  <a:gd name="connsiteX0" fmla="*/ 45974 w 64035"/>
                  <a:gd name="connsiteY0" fmla="*/ 123145 h 123144"/>
                  <a:gd name="connsiteX1" fmla="*/ 22166 w 64035"/>
                  <a:gd name="connsiteY1" fmla="*/ 115756 h 123144"/>
                  <a:gd name="connsiteX2" fmla="*/ 15598 w 64035"/>
                  <a:gd name="connsiteY2" fmla="*/ 93590 h 123144"/>
                  <a:gd name="connsiteX3" fmla="*/ 15598 w 64035"/>
                  <a:gd name="connsiteY3" fmla="*/ 49258 h 123144"/>
                  <a:gd name="connsiteX4" fmla="*/ 0 w 64035"/>
                  <a:gd name="connsiteY4" fmla="*/ 49258 h 123144"/>
                  <a:gd name="connsiteX5" fmla="*/ 0 w 64035"/>
                  <a:gd name="connsiteY5" fmla="*/ 27913 h 123144"/>
                  <a:gd name="connsiteX6" fmla="*/ 15598 w 64035"/>
                  <a:gd name="connsiteY6" fmla="*/ 27913 h 123144"/>
                  <a:gd name="connsiteX7" fmla="*/ 15598 w 64035"/>
                  <a:gd name="connsiteY7" fmla="*/ 0 h 123144"/>
                  <a:gd name="connsiteX8" fmla="*/ 41048 w 64035"/>
                  <a:gd name="connsiteY8" fmla="*/ 0 h 123144"/>
                  <a:gd name="connsiteX9" fmla="*/ 41048 w 64035"/>
                  <a:gd name="connsiteY9" fmla="*/ 27913 h 123144"/>
                  <a:gd name="connsiteX10" fmla="*/ 64035 w 64035"/>
                  <a:gd name="connsiteY10" fmla="*/ 27913 h 123144"/>
                  <a:gd name="connsiteX11" fmla="*/ 64035 w 64035"/>
                  <a:gd name="connsiteY11" fmla="*/ 49258 h 123144"/>
                  <a:gd name="connsiteX12" fmla="*/ 41048 w 64035"/>
                  <a:gd name="connsiteY12" fmla="*/ 49258 h 123144"/>
                  <a:gd name="connsiteX13" fmla="*/ 41048 w 64035"/>
                  <a:gd name="connsiteY13" fmla="*/ 89485 h 123144"/>
                  <a:gd name="connsiteX14" fmla="*/ 43511 w 64035"/>
                  <a:gd name="connsiteY14" fmla="*/ 98516 h 123144"/>
                  <a:gd name="connsiteX15" fmla="*/ 52542 w 64035"/>
                  <a:gd name="connsiteY15" fmla="*/ 100979 h 123144"/>
                  <a:gd name="connsiteX16" fmla="*/ 64035 w 64035"/>
                  <a:gd name="connsiteY16" fmla="*/ 99337 h 123144"/>
                  <a:gd name="connsiteX17" fmla="*/ 64035 w 64035"/>
                  <a:gd name="connsiteY17" fmla="*/ 120682 h 123144"/>
                  <a:gd name="connsiteX18" fmla="*/ 45974 w 64035"/>
                  <a:gd name="connsiteY18" fmla="*/ 123145 h 123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4035" h="123144">
                    <a:moveTo>
                      <a:pt x="45974" y="123145"/>
                    </a:moveTo>
                    <a:cubicBezTo>
                      <a:pt x="34481" y="123145"/>
                      <a:pt x="27092" y="120682"/>
                      <a:pt x="22166" y="115756"/>
                    </a:cubicBezTo>
                    <a:cubicBezTo>
                      <a:pt x="17240" y="110830"/>
                      <a:pt x="15598" y="103442"/>
                      <a:pt x="15598" y="93590"/>
                    </a:cubicBezTo>
                    <a:lnTo>
                      <a:pt x="15598" y="49258"/>
                    </a:lnTo>
                    <a:lnTo>
                      <a:pt x="0" y="49258"/>
                    </a:lnTo>
                    <a:lnTo>
                      <a:pt x="0" y="27913"/>
                    </a:lnTo>
                    <a:lnTo>
                      <a:pt x="15598" y="27913"/>
                    </a:lnTo>
                    <a:lnTo>
                      <a:pt x="15598" y="0"/>
                    </a:lnTo>
                    <a:lnTo>
                      <a:pt x="41048" y="0"/>
                    </a:lnTo>
                    <a:lnTo>
                      <a:pt x="41048" y="27913"/>
                    </a:lnTo>
                    <a:lnTo>
                      <a:pt x="64035" y="27913"/>
                    </a:lnTo>
                    <a:lnTo>
                      <a:pt x="64035" y="49258"/>
                    </a:lnTo>
                    <a:lnTo>
                      <a:pt x="41048" y="49258"/>
                    </a:lnTo>
                    <a:lnTo>
                      <a:pt x="41048" y="89485"/>
                    </a:lnTo>
                    <a:cubicBezTo>
                      <a:pt x="41048" y="93590"/>
                      <a:pt x="41869" y="96053"/>
                      <a:pt x="43511" y="98516"/>
                    </a:cubicBezTo>
                    <a:cubicBezTo>
                      <a:pt x="45153" y="100158"/>
                      <a:pt x="48437" y="100979"/>
                      <a:pt x="52542" y="100979"/>
                    </a:cubicBezTo>
                    <a:cubicBezTo>
                      <a:pt x="56647" y="100979"/>
                      <a:pt x="59930" y="100158"/>
                      <a:pt x="64035" y="99337"/>
                    </a:cubicBezTo>
                    <a:lnTo>
                      <a:pt x="64035" y="120682"/>
                    </a:lnTo>
                    <a:cubicBezTo>
                      <a:pt x="58289" y="122324"/>
                      <a:pt x="52542" y="123145"/>
                      <a:pt x="45974" y="1231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3" name="Vrije vorm: vorm 82">
                <a:extLst>
                  <a:ext uri="{FF2B5EF4-FFF2-40B4-BE49-F238E27FC236}">
                    <a16:creationId xmlns:a16="http://schemas.microsoft.com/office/drawing/2014/main" id="{0F0095D5-6E2F-4D3A-A895-3527ED3A66F9}"/>
                  </a:ext>
                </a:extLst>
              </p:cNvPr>
              <p:cNvSpPr/>
              <p:nvPr/>
            </p:nvSpPr>
            <p:spPr>
              <a:xfrm>
                <a:off x="11240835" y="6540284"/>
                <a:ext cx="82917" cy="135459"/>
              </a:xfrm>
              <a:custGeom>
                <a:avLst/>
                <a:gdLst>
                  <a:gd name="connsiteX0" fmla="*/ 52542 w 82917"/>
                  <a:gd name="connsiteY0" fmla="*/ 38585 h 135459"/>
                  <a:gd name="connsiteX1" fmla="*/ 74708 w 82917"/>
                  <a:gd name="connsiteY1" fmla="*/ 47616 h 135459"/>
                  <a:gd name="connsiteX2" fmla="*/ 82917 w 82917"/>
                  <a:gd name="connsiteY2" fmla="*/ 73887 h 135459"/>
                  <a:gd name="connsiteX3" fmla="*/ 82917 w 82917"/>
                  <a:gd name="connsiteY3" fmla="*/ 135459 h 135459"/>
                  <a:gd name="connsiteX4" fmla="*/ 57468 w 82917"/>
                  <a:gd name="connsiteY4" fmla="*/ 135459 h 135459"/>
                  <a:gd name="connsiteX5" fmla="*/ 57468 w 82917"/>
                  <a:gd name="connsiteY5" fmla="*/ 80455 h 135459"/>
                  <a:gd name="connsiteX6" fmla="*/ 54184 w 82917"/>
                  <a:gd name="connsiteY6" fmla="*/ 66498 h 135459"/>
                  <a:gd name="connsiteX7" fmla="*/ 43511 w 82917"/>
                  <a:gd name="connsiteY7" fmla="*/ 61572 h 135459"/>
                  <a:gd name="connsiteX8" fmla="*/ 30376 w 82917"/>
                  <a:gd name="connsiteY8" fmla="*/ 67319 h 135459"/>
                  <a:gd name="connsiteX9" fmla="*/ 25450 w 82917"/>
                  <a:gd name="connsiteY9" fmla="*/ 82096 h 135459"/>
                  <a:gd name="connsiteX10" fmla="*/ 25450 w 82917"/>
                  <a:gd name="connsiteY10" fmla="*/ 135459 h 135459"/>
                  <a:gd name="connsiteX11" fmla="*/ 0 w 82917"/>
                  <a:gd name="connsiteY11" fmla="*/ 135459 h 135459"/>
                  <a:gd name="connsiteX12" fmla="*/ 0 w 82917"/>
                  <a:gd name="connsiteY12" fmla="*/ 0 h 135459"/>
                  <a:gd name="connsiteX13" fmla="*/ 25450 w 82917"/>
                  <a:gd name="connsiteY13" fmla="*/ 0 h 135459"/>
                  <a:gd name="connsiteX14" fmla="*/ 25450 w 82917"/>
                  <a:gd name="connsiteY14" fmla="*/ 53363 h 135459"/>
                  <a:gd name="connsiteX15" fmla="*/ 36122 w 82917"/>
                  <a:gd name="connsiteY15" fmla="*/ 41869 h 135459"/>
                  <a:gd name="connsiteX16" fmla="*/ 52542 w 82917"/>
                  <a:gd name="connsiteY16" fmla="*/ 38585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2917" h="135459">
                    <a:moveTo>
                      <a:pt x="52542" y="38585"/>
                    </a:moveTo>
                    <a:cubicBezTo>
                      <a:pt x="61572" y="38585"/>
                      <a:pt x="68961" y="41869"/>
                      <a:pt x="74708" y="47616"/>
                    </a:cubicBezTo>
                    <a:cubicBezTo>
                      <a:pt x="79634" y="53363"/>
                      <a:pt x="82917" y="62393"/>
                      <a:pt x="82917" y="73887"/>
                    </a:cubicBezTo>
                    <a:lnTo>
                      <a:pt x="82917" y="135459"/>
                    </a:lnTo>
                    <a:lnTo>
                      <a:pt x="57468" y="135459"/>
                    </a:lnTo>
                    <a:lnTo>
                      <a:pt x="57468" y="80455"/>
                    </a:lnTo>
                    <a:cubicBezTo>
                      <a:pt x="57468" y="74708"/>
                      <a:pt x="56647" y="69782"/>
                      <a:pt x="54184" y="66498"/>
                    </a:cubicBezTo>
                    <a:cubicBezTo>
                      <a:pt x="51721" y="63214"/>
                      <a:pt x="48437" y="61572"/>
                      <a:pt x="43511" y="61572"/>
                    </a:cubicBezTo>
                    <a:cubicBezTo>
                      <a:pt x="37764" y="61572"/>
                      <a:pt x="33660" y="63214"/>
                      <a:pt x="30376" y="67319"/>
                    </a:cubicBezTo>
                    <a:cubicBezTo>
                      <a:pt x="27092" y="70603"/>
                      <a:pt x="25450" y="75529"/>
                      <a:pt x="25450" y="82096"/>
                    </a:cubicBezTo>
                    <a:lnTo>
                      <a:pt x="25450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53363"/>
                    </a:lnTo>
                    <a:cubicBezTo>
                      <a:pt x="27913" y="48437"/>
                      <a:pt x="31197" y="45153"/>
                      <a:pt x="36122" y="41869"/>
                    </a:cubicBezTo>
                    <a:cubicBezTo>
                      <a:pt x="41048" y="40227"/>
                      <a:pt x="45974" y="38585"/>
                      <a:pt x="52542" y="3858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4" name="Vrije vorm: vorm 83">
                <a:extLst>
                  <a:ext uri="{FF2B5EF4-FFF2-40B4-BE49-F238E27FC236}">
                    <a16:creationId xmlns:a16="http://schemas.microsoft.com/office/drawing/2014/main" id="{1F0A49D4-71DD-46C5-B4A0-B42BAE1D2C28}"/>
                  </a:ext>
                </a:extLst>
              </p:cNvPr>
              <p:cNvSpPr/>
              <p:nvPr/>
            </p:nvSpPr>
            <p:spPr>
              <a:xfrm>
                <a:off x="11338529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5" name="Vrije vorm: vorm 84">
                <a:extLst>
                  <a:ext uri="{FF2B5EF4-FFF2-40B4-BE49-F238E27FC236}">
                    <a16:creationId xmlns:a16="http://schemas.microsoft.com/office/drawing/2014/main" id="{9D372910-89B2-48CE-9169-9F62E773892B}"/>
                  </a:ext>
                </a:extLst>
              </p:cNvPr>
              <p:cNvSpPr/>
              <p:nvPr/>
            </p:nvSpPr>
            <p:spPr>
              <a:xfrm>
                <a:off x="11437045" y="6578870"/>
                <a:ext cx="87843" cy="99336"/>
              </a:xfrm>
              <a:custGeom>
                <a:avLst/>
                <a:gdLst>
                  <a:gd name="connsiteX0" fmla="*/ 87843 w 87843"/>
                  <a:gd name="connsiteY0" fmla="*/ 48437 h 99336"/>
                  <a:gd name="connsiteX1" fmla="*/ 87022 w 87843"/>
                  <a:gd name="connsiteY1" fmla="*/ 57468 h 99336"/>
                  <a:gd name="connsiteX2" fmla="*/ 25450 w 87843"/>
                  <a:gd name="connsiteY2" fmla="*/ 57468 h 99336"/>
                  <a:gd name="connsiteX3" fmla="*/ 48437 w 87843"/>
                  <a:gd name="connsiteY3" fmla="*/ 77992 h 99336"/>
                  <a:gd name="connsiteX4" fmla="*/ 70603 w 87843"/>
                  <a:gd name="connsiteY4" fmla="*/ 67319 h 99336"/>
                  <a:gd name="connsiteX5" fmla="*/ 84559 w 87843"/>
                  <a:gd name="connsiteY5" fmla="*/ 82096 h 99336"/>
                  <a:gd name="connsiteX6" fmla="*/ 68961 w 87843"/>
                  <a:gd name="connsiteY6" fmla="*/ 95232 h 99336"/>
                  <a:gd name="connsiteX7" fmla="*/ 47616 w 87843"/>
                  <a:gd name="connsiteY7" fmla="*/ 99337 h 99336"/>
                  <a:gd name="connsiteX8" fmla="*/ 13135 w 87843"/>
                  <a:gd name="connsiteY8" fmla="*/ 86201 h 99336"/>
                  <a:gd name="connsiteX9" fmla="*/ 0 w 87843"/>
                  <a:gd name="connsiteY9" fmla="*/ 50079 h 99336"/>
                  <a:gd name="connsiteX10" fmla="*/ 12314 w 87843"/>
                  <a:gd name="connsiteY10" fmla="*/ 13956 h 99336"/>
                  <a:gd name="connsiteX11" fmla="*/ 44332 w 87843"/>
                  <a:gd name="connsiteY11" fmla="*/ 0 h 99336"/>
                  <a:gd name="connsiteX12" fmla="*/ 75529 w 87843"/>
                  <a:gd name="connsiteY12" fmla="*/ 13135 h 99336"/>
                  <a:gd name="connsiteX13" fmla="*/ 87843 w 87843"/>
                  <a:gd name="connsiteY13" fmla="*/ 48437 h 99336"/>
                  <a:gd name="connsiteX14" fmla="*/ 45153 w 87843"/>
                  <a:gd name="connsiteY14" fmla="*/ 21345 h 99336"/>
                  <a:gd name="connsiteX15" fmla="*/ 32018 w 87843"/>
                  <a:gd name="connsiteY15" fmla="*/ 26271 h 99336"/>
                  <a:gd name="connsiteX16" fmla="*/ 25450 w 87843"/>
                  <a:gd name="connsiteY16" fmla="*/ 40227 h 99336"/>
                  <a:gd name="connsiteX17" fmla="*/ 62393 w 87843"/>
                  <a:gd name="connsiteY17" fmla="*/ 40227 h 99336"/>
                  <a:gd name="connsiteX18" fmla="*/ 57468 w 87843"/>
                  <a:gd name="connsiteY18" fmla="*/ 26271 h 99336"/>
                  <a:gd name="connsiteX19" fmla="*/ 45153 w 87843"/>
                  <a:gd name="connsiteY19" fmla="*/ 21345 h 9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7843" h="99336">
                    <a:moveTo>
                      <a:pt x="87843" y="48437"/>
                    </a:moveTo>
                    <a:cubicBezTo>
                      <a:pt x="87843" y="50900"/>
                      <a:pt x="87843" y="54184"/>
                      <a:pt x="87022" y="57468"/>
                    </a:cubicBezTo>
                    <a:lnTo>
                      <a:pt x="25450" y="57468"/>
                    </a:lnTo>
                    <a:cubicBezTo>
                      <a:pt x="27913" y="71424"/>
                      <a:pt x="35301" y="77992"/>
                      <a:pt x="48437" y="77992"/>
                    </a:cubicBezTo>
                    <a:cubicBezTo>
                      <a:pt x="57468" y="77992"/>
                      <a:pt x="64856" y="74708"/>
                      <a:pt x="70603" y="67319"/>
                    </a:cubicBezTo>
                    <a:lnTo>
                      <a:pt x="84559" y="82096"/>
                    </a:lnTo>
                    <a:cubicBezTo>
                      <a:pt x="80454" y="87843"/>
                      <a:pt x="75529" y="91948"/>
                      <a:pt x="68961" y="95232"/>
                    </a:cubicBezTo>
                    <a:cubicBezTo>
                      <a:pt x="62393" y="98516"/>
                      <a:pt x="55826" y="99337"/>
                      <a:pt x="47616" y="99337"/>
                    </a:cubicBezTo>
                    <a:cubicBezTo>
                      <a:pt x="33660" y="99337"/>
                      <a:pt x="22166" y="95232"/>
                      <a:pt x="13135" y="86201"/>
                    </a:cubicBezTo>
                    <a:cubicBezTo>
                      <a:pt x="4105" y="77171"/>
                      <a:pt x="0" y="65677"/>
                      <a:pt x="0" y="50079"/>
                    </a:cubicBezTo>
                    <a:cubicBezTo>
                      <a:pt x="0" y="35301"/>
                      <a:pt x="4105" y="23808"/>
                      <a:pt x="12314" y="13956"/>
                    </a:cubicBezTo>
                    <a:cubicBezTo>
                      <a:pt x="20524" y="4926"/>
                      <a:pt x="31197" y="0"/>
                      <a:pt x="44332" y="0"/>
                    </a:cubicBezTo>
                    <a:cubicBezTo>
                      <a:pt x="57468" y="0"/>
                      <a:pt x="68140" y="4105"/>
                      <a:pt x="75529" y="13135"/>
                    </a:cubicBezTo>
                    <a:cubicBezTo>
                      <a:pt x="83738" y="22166"/>
                      <a:pt x="87843" y="33660"/>
                      <a:pt x="87843" y="48437"/>
                    </a:cubicBezTo>
                    <a:close/>
                    <a:moveTo>
                      <a:pt x="45153" y="21345"/>
                    </a:moveTo>
                    <a:cubicBezTo>
                      <a:pt x="39406" y="21345"/>
                      <a:pt x="35301" y="22987"/>
                      <a:pt x="32018" y="26271"/>
                    </a:cubicBezTo>
                    <a:cubicBezTo>
                      <a:pt x="28734" y="29555"/>
                      <a:pt x="26271" y="34481"/>
                      <a:pt x="25450" y="40227"/>
                    </a:cubicBezTo>
                    <a:lnTo>
                      <a:pt x="62393" y="40227"/>
                    </a:lnTo>
                    <a:cubicBezTo>
                      <a:pt x="62393" y="34481"/>
                      <a:pt x="60751" y="29555"/>
                      <a:pt x="57468" y="26271"/>
                    </a:cubicBezTo>
                    <a:cubicBezTo>
                      <a:pt x="54184" y="22987"/>
                      <a:pt x="50900" y="21345"/>
                      <a:pt x="45153" y="21345"/>
                    </a:cubicBez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  <p:sp>
            <p:nvSpPr>
              <p:cNvPr id="86" name="Vrije vorm: vorm 85">
                <a:extLst>
                  <a:ext uri="{FF2B5EF4-FFF2-40B4-BE49-F238E27FC236}">
                    <a16:creationId xmlns:a16="http://schemas.microsoft.com/office/drawing/2014/main" id="{2AB48E6C-801C-4F6D-9B88-CB9DDF4EB209}"/>
                  </a:ext>
                </a:extLst>
              </p:cNvPr>
              <p:cNvSpPr/>
              <p:nvPr/>
            </p:nvSpPr>
            <p:spPr>
              <a:xfrm>
                <a:off x="11541307" y="6540284"/>
                <a:ext cx="89485" cy="135459"/>
              </a:xfrm>
              <a:custGeom>
                <a:avLst/>
                <a:gdLst>
                  <a:gd name="connsiteX0" fmla="*/ 34480 w 89485"/>
                  <a:gd name="connsiteY0" fmla="*/ 99337 h 135459"/>
                  <a:gd name="connsiteX1" fmla="*/ 24629 w 89485"/>
                  <a:gd name="connsiteY1" fmla="*/ 110009 h 135459"/>
                  <a:gd name="connsiteX2" fmla="*/ 24629 w 89485"/>
                  <a:gd name="connsiteY2" fmla="*/ 135459 h 135459"/>
                  <a:gd name="connsiteX3" fmla="*/ 0 w 89485"/>
                  <a:gd name="connsiteY3" fmla="*/ 135459 h 135459"/>
                  <a:gd name="connsiteX4" fmla="*/ 0 w 89485"/>
                  <a:gd name="connsiteY4" fmla="*/ 0 h 135459"/>
                  <a:gd name="connsiteX5" fmla="*/ 25450 w 89485"/>
                  <a:gd name="connsiteY5" fmla="*/ 0 h 135459"/>
                  <a:gd name="connsiteX6" fmla="*/ 25450 w 89485"/>
                  <a:gd name="connsiteY6" fmla="*/ 77992 h 135459"/>
                  <a:gd name="connsiteX7" fmla="*/ 58289 w 89485"/>
                  <a:gd name="connsiteY7" fmla="*/ 41048 h 135459"/>
                  <a:gd name="connsiteX8" fmla="*/ 88664 w 89485"/>
                  <a:gd name="connsiteY8" fmla="*/ 41048 h 135459"/>
                  <a:gd name="connsiteX9" fmla="*/ 51721 w 89485"/>
                  <a:gd name="connsiteY9" fmla="*/ 81276 h 135459"/>
                  <a:gd name="connsiteX10" fmla="*/ 89485 w 89485"/>
                  <a:gd name="connsiteY10" fmla="*/ 134638 h 135459"/>
                  <a:gd name="connsiteX11" fmla="*/ 59930 w 89485"/>
                  <a:gd name="connsiteY11" fmla="*/ 134638 h 135459"/>
                  <a:gd name="connsiteX12" fmla="*/ 34480 w 89485"/>
                  <a:gd name="connsiteY12" fmla="*/ 99337 h 135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485" h="135459">
                    <a:moveTo>
                      <a:pt x="34480" y="99337"/>
                    </a:moveTo>
                    <a:lnTo>
                      <a:pt x="24629" y="110009"/>
                    </a:lnTo>
                    <a:lnTo>
                      <a:pt x="24629" y="135459"/>
                    </a:lnTo>
                    <a:lnTo>
                      <a:pt x="0" y="135459"/>
                    </a:lnTo>
                    <a:lnTo>
                      <a:pt x="0" y="0"/>
                    </a:lnTo>
                    <a:lnTo>
                      <a:pt x="25450" y="0"/>
                    </a:lnTo>
                    <a:lnTo>
                      <a:pt x="25450" y="77992"/>
                    </a:lnTo>
                    <a:lnTo>
                      <a:pt x="58289" y="41048"/>
                    </a:lnTo>
                    <a:lnTo>
                      <a:pt x="88664" y="41048"/>
                    </a:lnTo>
                    <a:lnTo>
                      <a:pt x="51721" y="81276"/>
                    </a:lnTo>
                    <a:lnTo>
                      <a:pt x="89485" y="134638"/>
                    </a:lnTo>
                    <a:lnTo>
                      <a:pt x="59930" y="134638"/>
                    </a:lnTo>
                    <a:lnTo>
                      <a:pt x="34480" y="99337"/>
                    </a:lnTo>
                    <a:close/>
                  </a:path>
                </a:pathLst>
              </a:custGeom>
              <a:solidFill>
                <a:srgbClr val="002C55"/>
              </a:solidFill>
              <a:ln w="816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1799"/>
              </a:p>
            </p:txBody>
          </p:sp>
        </p:grpSp>
        <p:sp>
          <p:nvSpPr>
            <p:cNvPr id="87" name="Vrije vorm: vorm 86">
              <a:extLst>
                <a:ext uri="{FF2B5EF4-FFF2-40B4-BE49-F238E27FC236}">
                  <a16:creationId xmlns:a16="http://schemas.microsoft.com/office/drawing/2014/main" id="{BA199EA9-6C50-4236-8839-1CA44272B123}"/>
                </a:ext>
              </a:extLst>
            </p:cNvPr>
            <p:cNvSpPr/>
            <p:nvPr/>
          </p:nvSpPr>
          <p:spPr>
            <a:xfrm>
              <a:off x="10601303" y="6439306"/>
              <a:ext cx="119039" cy="238079"/>
            </a:xfrm>
            <a:custGeom>
              <a:avLst/>
              <a:gdLst>
                <a:gd name="connsiteX0" fmla="*/ 0 w 119039"/>
                <a:gd name="connsiteY0" fmla="*/ 0 h 238079"/>
                <a:gd name="connsiteX1" fmla="*/ 119040 w 119039"/>
                <a:gd name="connsiteY1" fmla="*/ 119040 h 238079"/>
                <a:gd name="connsiteX2" fmla="*/ 0 w 119039"/>
                <a:gd name="connsiteY2" fmla="*/ 238080 h 238079"/>
                <a:gd name="connsiteX3" fmla="*/ 0 w 119039"/>
                <a:gd name="connsiteY3" fmla="*/ 0 h 23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039" h="238079">
                  <a:moveTo>
                    <a:pt x="0" y="0"/>
                  </a:moveTo>
                  <a:cubicBezTo>
                    <a:pt x="65677" y="0"/>
                    <a:pt x="119040" y="53363"/>
                    <a:pt x="119040" y="119040"/>
                  </a:cubicBezTo>
                  <a:cubicBezTo>
                    <a:pt x="119040" y="184717"/>
                    <a:pt x="65677" y="238080"/>
                    <a:pt x="0" y="23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88" name="Vrije vorm: vorm 87">
              <a:extLst>
                <a:ext uri="{FF2B5EF4-FFF2-40B4-BE49-F238E27FC236}">
                  <a16:creationId xmlns:a16="http://schemas.microsoft.com/office/drawing/2014/main" id="{2F6E026D-60EE-4C99-B37A-8433370CAA6E}"/>
                </a:ext>
              </a:extLst>
            </p:cNvPr>
            <p:cNvSpPr/>
            <p:nvPr/>
          </p:nvSpPr>
          <p:spPr>
            <a:xfrm>
              <a:off x="10601303" y="6283323"/>
              <a:ext cx="59109" cy="118218"/>
            </a:xfrm>
            <a:custGeom>
              <a:avLst/>
              <a:gdLst>
                <a:gd name="connsiteX0" fmla="*/ 0 w 59109"/>
                <a:gd name="connsiteY0" fmla="*/ 0 h 118218"/>
                <a:gd name="connsiteX1" fmla="*/ 59109 w 59109"/>
                <a:gd name="connsiteY1" fmla="*/ 59109 h 118218"/>
                <a:gd name="connsiteX2" fmla="*/ 0 w 59109"/>
                <a:gd name="connsiteY2" fmla="*/ 118219 h 118218"/>
                <a:gd name="connsiteX3" fmla="*/ 0 w 59109"/>
                <a:gd name="connsiteY3" fmla="*/ 0 h 118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09" h="118218">
                  <a:moveTo>
                    <a:pt x="0" y="0"/>
                  </a:moveTo>
                  <a:cubicBezTo>
                    <a:pt x="32839" y="0"/>
                    <a:pt x="59109" y="26271"/>
                    <a:pt x="59109" y="59109"/>
                  </a:cubicBezTo>
                  <a:cubicBezTo>
                    <a:pt x="59109" y="91948"/>
                    <a:pt x="32839" y="118219"/>
                    <a:pt x="0" y="118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89" name="Vrije vorm: vorm 88">
              <a:extLst>
                <a:ext uri="{FF2B5EF4-FFF2-40B4-BE49-F238E27FC236}">
                  <a16:creationId xmlns:a16="http://schemas.microsoft.com/office/drawing/2014/main" id="{41B33338-6CFA-4232-A270-2DF9AA88B2DB}"/>
                </a:ext>
              </a:extLst>
            </p:cNvPr>
            <p:cNvSpPr/>
            <p:nvPr/>
          </p:nvSpPr>
          <p:spPr>
            <a:xfrm>
              <a:off x="10507713" y="6589542"/>
              <a:ext cx="68961" cy="137922"/>
            </a:xfrm>
            <a:custGeom>
              <a:avLst/>
              <a:gdLst>
                <a:gd name="connsiteX0" fmla="*/ 68961 w 68961"/>
                <a:gd name="connsiteY0" fmla="*/ 137922 h 137922"/>
                <a:gd name="connsiteX1" fmla="*/ 0 w 68961"/>
                <a:gd name="connsiteY1" fmla="*/ 68961 h 137922"/>
                <a:gd name="connsiteX2" fmla="*/ 68961 w 68961"/>
                <a:gd name="connsiteY2" fmla="*/ 0 h 137922"/>
                <a:gd name="connsiteX3" fmla="*/ 68961 w 68961"/>
                <a:gd name="connsiteY3" fmla="*/ 137922 h 1379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961" h="137922">
                  <a:moveTo>
                    <a:pt x="68961" y="137922"/>
                  </a:moveTo>
                  <a:cubicBezTo>
                    <a:pt x="31197" y="137922"/>
                    <a:pt x="0" y="107546"/>
                    <a:pt x="0" y="68961"/>
                  </a:cubicBezTo>
                  <a:cubicBezTo>
                    <a:pt x="0" y="30376"/>
                    <a:pt x="31197" y="0"/>
                    <a:pt x="68961" y="0"/>
                  </a:cubicBezTo>
                  <a:lnTo>
                    <a:pt x="68961" y="137922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  <p:sp>
          <p:nvSpPr>
            <p:cNvPr id="90" name="Vrije vorm: vorm 89">
              <a:extLst>
                <a:ext uri="{FF2B5EF4-FFF2-40B4-BE49-F238E27FC236}">
                  <a16:creationId xmlns:a16="http://schemas.microsoft.com/office/drawing/2014/main" id="{4B73019B-E038-44FB-8567-6F83B1C52207}"/>
                </a:ext>
              </a:extLst>
            </p:cNvPr>
            <p:cNvSpPr/>
            <p:nvPr/>
          </p:nvSpPr>
          <p:spPr>
            <a:xfrm>
              <a:off x="10482264" y="6349821"/>
              <a:ext cx="94410" cy="188000"/>
            </a:xfrm>
            <a:custGeom>
              <a:avLst/>
              <a:gdLst>
                <a:gd name="connsiteX0" fmla="*/ 94411 w 94410"/>
                <a:gd name="connsiteY0" fmla="*/ 188001 h 188000"/>
                <a:gd name="connsiteX1" fmla="*/ 0 w 94410"/>
                <a:gd name="connsiteY1" fmla="*/ 94411 h 188000"/>
                <a:gd name="connsiteX2" fmla="*/ 94411 w 94410"/>
                <a:gd name="connsiteY2" fmla="*/ 0 h 188000"/>
                <a:gd name="connsiteX3" fmla="*/ 94411 w 94410"/>
                <a:gd name="connsiteY3" fmla="*/ 188001 h 18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410" h="188000">
                  <a:moveTo>
                    <a:pt x="94411" y="188001"/>
                  </a:moveTo>
                  <a:cubicBezTo>
                    <a:pt x="41869" y="188001"/>
                    <a:pt x="0" y="146132"/>
                    <a:pt x="0" y="94411"/>
                  </a:cubicBezTo>
                  <a:cubicBezTo>
                    <a:pt x="0" y="42690"/>
                    <a:pt x="41869" y="0"/>
                    <a:pt x="94411" y="0"/>
                  </a:cubicBezTo>
                  <a:lnTo>
                    <a:pt x="94411" y="188001"/>
                  </a:lnTo>
                  <a:close/>
                </a:path>
              </a:pathLst>
            </a:custGeom>
            <a:solidFill>
              <a:schemeClr val="tx2"/>
            </a:solidFill>
            <a:ln w="816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1799"/>
            </a:p>
          </p:txBody>
        </p:sp>
      </p:grpSp>
    </p:spTree>
    <p:extLst>
      <p:ext uri="{BB962C8B-B14F-4D97-AF65-F5344CB8AC3E}">
        <p14:creationId xmlns:p14="http://schemas.microsoft.com/office/powerpoint/2010/main" val="593391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4379" r:id="rId4"/>
    <p:sldLayoutId id="2147484380" r:id="rId5"/>
    <p:sldLayoutId id="2147484381" r:id="rId6"/>
    <p:sldLayoutId id="2147484382" r:id="rId7"/>
    <p:sldLayoutId id="2147484383" r:id="rId8"/>
    <p:sldLayoutId id="2147484384" r:id="rId9"/>
    <p:sldLayoutId id="2147484385" r:id="rId10"/>
    <p:sldLayoutId id="2147484386" r:id="rId11"/>
    <p:sldLayoutId id="2147484387" r:id="rId12"/>
    <p:sldLayoutId id="2147484388" r:id="rId13"/>
    <p:sldLayoutId id="2147484389" r:id="rId14"/>
    <p:sldLayoutId id="2147484390" r:id="rId15"/>
    <p:sldLayoutId id="2147484391" r:id="rId16"/>
    <p:sldLayoutId id="2147484392" r:id="rId17"/>
    <p:sldLayoutId id="2147484393" r:id="rId18"/>
    <p:sldLayoutId id="2147484394" r:id="rId19"/>
    <p:sldLayoutId id="2147484395" r:id="rId20"/>
    <p:sldLayoutId id="2147484396" r:id="rId21"/>
    <p:sldLayoutId id="2147484397" r:id="rId22"/>
    <p:sldLayoutId id="2147484398" r:id="rId23"/>
    <p:sldLayoutId id="2147484399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3943" rtl="0" eaLnBrk="1" latinLnBrk="0" hangingPunct="1">
        <a:spcBef>
          <a:spcPct val="0"/>
        </a:spcBef>
        <a:buNone/>
        <a:defRPr sz="2799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2913" indent="-272913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bg2"/>
        </a:buClr>
        <a:buFont typeface="Arial" panose="020B0604020202020204" pitchFamily="34" charset="0"/>
        <a:buChar char="•"/>
        <a:defRPr sz="1999" kern="1200">
          <a:solidFill>
            <a:schemeClr val="bg2"/>
          </a:solidFill>
          <a:latin typeface="+mn-lt"/>
          <a:ea typeface="+mn-ea"/>
          <a:cs typeface="+mn-cs"/>
        </a:defRPr>
      </a:lvl1pPr>
      <a:lvl2pPr marL="442692" indent="-261807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bg2"/>
        </a:buClr>
        <a:buFont typeface="Arial" panose="020B0604020202020204" pitchFamily="34" charset="0"/>
        <a:buChar char="•"/>
        <a:defRPr sz="1999" kern="1200">
          <a:solidFill>
            <a:schemeClr val="bg2"/>
          </a:solidFill>
          <a:latin typeface="+mn-lt"/>
          <a:ea typeface="+mn-ea"/>
          <a:cs typeface="+mn-cs"/>
        </a:defRPr>
      </a:lvl2pPr>
      <a:lvl3pPr marL="0" indent="0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None/>
        <a:defRPr sz="1199" kern="1200">
          <a:solidFill>
            <a:schemeClr val="bg2"/>
          </a:solidFill>
          <a:latin typeface="Service Apotheek Text" panose="00000500000000000000" pitchFamily="2" charset="0"/>
          <a:ea typeface="+mn-ea"/>
          <a:cs typeface="+mn-cs"/>
        </a:defRPr>
      </a:lvl3pPr>
      <a:lvl4pPr marL="0" indent="0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99" b="0" kern="1200">
          <a:solidFill>
            <a:schemeClr val="bg2"/>
          </a:solidFill>
          <a:latin typeface="+mj-lt"/>
          <a:ea typeface="+mn-ea"/>
          <a:cs typeface="+mn-cs"/>
        </a:defRPr>
      </a:lvl4pPr>
      <a:lvl5pPr marL="272913" indent="-272913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Tx/>
        <a:buBlip>
          <a:blip r:embed="rId29"/>
        </a:buBlip>
        <a:defRPr sz="1999" i="0" kern="1200">
          <a:solidFill>
            <a:schemeClr val="bg2"/>
          </a:solidFill>
          <a:latin typeface="+mn-lt"/>
          <a:ea typeface="+mn-ea"/>
          <a:cs typeface="+mn-cs"/>
        </a:defRPr>
      </a:lvl5pPr>
      <a:lvl6pPr marL="361769" indent="-361769" algn="l" defTabSz="913943" rtl="0" eaLnBrk="1" latinLnBrk="0" hangingPunct="1">
        <a:lnSpc>
          <a:spcPct val="110000"/>
        </a:lnSpc>
        <a:spcBef>
          <a:spcPts val="1199"/>
        </a:spcBef>
        <a:spcAft>
          <a:spcPts val="800"/>
        </a:spcAft>
        <a:buClr>
          <a:schemeClr val="bg2"/>
        </a:buClr>
        <a:buFont typeface="+mj-lt"/>
        <a:buAutoNum type="arabicPeriod"/>
        <a:defRPr sz="1999" kern="1200">
          <a:solidFill>
            <a:schemeClr val="bg2"/>
          </a:solidFill>
          <a:latin typeface="+mn-lt"/>
          <a:ea typeface="+mn-ea"/>
          <a:cs typeface="+mn-cs"/>
        </a:defRPr>
      </a:lvl6pPr>
      <a:lvl7pPr marL="628336" indent="-266567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bg2"/>
        </a:buClr>
        <a:buFont typeface="+mj-lt"/>
        <a:buAutoNum type="alphaLcPeriod"/>
        <a:defRPr sz="1999" kern="1200">
          <a:solidFill>
            <a:schemeClr val="bg2"/>
          </a:solidFill>
          <a:latin typeface="+mn-lt"/>
          <a:ea typeface="+mn-ea"/>
          <a:cs typeface="+mn-cs"/>
        </a:defRPr>
      </a:lvl7pPr>
      <a:lvl8pPr marL="628336" indent="-266567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Clr>
          <a:schemeClr val="bg2"/>
        </a:buClr>
        <a:buFont typeface="Arial" panose="020B0604020202020204" pitchFamily="34" charset="0"/>
        <a:buChar char="•"/>
        <a:defRPr sz="1999" kern="1200">
          <a:solidFill>
            <a:schemeClr val="bg2"/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999" b="0" kern="1200">
          <a:solidFill>
            <a:schemeClr val="tx2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7684">
          <p15:clr>
            <a:srgbClr val="FBAE40"/>
          </p15:clr>
        </p15:guide>
        <p15:guide id="3" pos="360">
          <p15:clr>
            <a:srgbClr val="FBAE40"/>
          </p15:clr>
        </p15:guide>
        <p15:guide id="4" pos="1454">
          <p15:clr>
            <a:srgbClr val="FBAE40"/>
          </p15:clr>
        </p15:guide>
        <p15:guide id="5" pos="1534">
          <p15:clr>
            <a:srgbClr val="FBAE40"/>
          </p15:clr>
        </p15:guide>
        <p15:guide id="6" pos="2628">
          <p15:clr>
            <a:srgbClr val="FBAE40"/>
          </p15:clr>
        </p15:guide>
        <p15:guide id="7" pos="2708">
          <p15:clr>
            <a:srgbClr val="FBAE40"/>
          </p15:clr>
        </p15:guide>
        <p15:guide id="8" pos="3802">
          <p15:clr>
            <a:srgbClr val="FBAE40"/>
          </p15:clr>
        </p15:guide>
        <p15:guide id="9" pos="3882">
          <p15:clr>
            <a:srgbClr val="FBAE40"/>
          </p15:clr>
        </p15:guide>
        <p15:guide id="10" pos="4976">
          <p15:clr>
            <a:srgbClr val="FBAE40"/>
          </p15:clr>
        </p15:guide>
        <p15:guide id="11" pos="5056">
          <p15:clr>
            <a:srgbClr val="FBAE40"/>
          </p15:clr>
        </p15:guide>
        <p15:guide id="12" pos="6150">
          <p15:clr>
            <a:srgbClr val="FBAE40"/>
          </p15:clr>
        </p15:guide>
        <p15:guide id="13" pos="6230">
          <p15:clr>
            <a:srgbClr val="FBAE40"/>
          </p15:clr>
        </p15:guide>
        <p15:guide id="14" pos="7324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768">
          <p15:clr>
            <a:srgbClr val="FBAE40"/>
          </p15:clr>
        </p15:guide>
        <p15:guide id="18" orient="horz" pos="1466">
          <p15:clr>
            <a:srgbClr val="FBAE40"/>
          </p15:clr>
        </p15:guide>
        <p15:guide id="19" orient="horz" pos="1546">
          <p15:clr>
            <a:srgbClr val="FBAE40"/>
          </p15:clr>
        </p15:guide>
        <p15:guide id="20" orient="horz" pos="2244">
          <p15:clr>
            <a:srgbClr val="FBAE40"/>
          </p15:clr>
        </p15:guide>
        <p15:guide id="21" orient="horz" pos="2324">
          <p15:clr>
            <a:srgbClr val="FBAE40"/>
          </p15:clr>
        </p15:guide>
        <p15:guide id="22" orient="horz" pos="3022">
          <p15:clr>
            <a:srgbClr val="FBAE40"/>
          </p15:clr>
        </p15:guide>
        <p15:guide id="23" orient="horz" pos="3102">
          <p15:clr>
            <a:srgbClr val="FBAE40"/>
          </p15:clr>
        </p15:guide>
        <p15:guide id="24" orient="horz" pos="3800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962737A5-9CF2-41DD-BFC1-D146CF8D1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08F51A1-277A-4CFA-825D-4840C34747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2AC6C73-09F6-49F0-B58D-F3319E3739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44098" y="6356350"/>
            <a:ext cx="12566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92F072-14EC-4E3D-A5C8-D2CB327C6A21}" type="datetime1">
              <a:rPr lang="nl-NL" smtClean="0"/>
              <a:t>13-6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17D20D2-D22D-41EB-B6F9-E971AC4F23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nl-NL"/>
              <a:t>www.jeleefstijlalsmedicijn.n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BB34BA4-BB2A-40FB-9E6E-4C9E066E8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91404" y="6356350"/>
            <a:ext cx="11623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038835-4D53-4C43-B0C5-A9D0803CD79A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9A01822E-7551-46B1-B136-DBB5263447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190" y="5897285"/>
            <a:ext cx="2743200" cy="82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319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0" r:id="rId1"/>
    <p:sldLayoutId id="2147484461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A0652602-FF84-777F-07B4-28AD7BAFD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128" y="160939"/>
            <a:ext cx="10371412" cy="6469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EA11CFA-1A75-1FA5-2219-F5D01B1894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228" y="1147518"/>
            <a:ext cx="11389828" cy="5457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078DADE5-E606-9CAE-77DC-4FB3E7238F8A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1854" y="0"/>
            <a:ext cx="1325732" cy="949638"/>
          </a:xfrm>
          <a:prstGeom prst="rect">
            <a:avLst/>
          </a:prstGeom>
        </p:spPr>
      </p:pic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504E5ED3-E22A-6F88-FEB1-5A6A8F6930FC}"/>
              </a:ext>
            </a:extLst>
          </p:cNvPr>
          <p:cNvCxnSpPr>
            <a:cxnSpLocks/>
          </p:cNvCxnSpPr>
          <p:nvPr userDrawn="1"/>
        </p:nvCxnSpPr>
        <p:spPr>
          <a:xfrm flipH="1">
            <a:off x="536618" y="882424"/>
            <a:ext cx="10306975" cy="0"/>
          </a:xfrm>
          <a:prstGeom prst="line">
            <a:avLst/>
          </a:prstGeom>
          <a:ln>
            <a:solidFill>
              <a:srgbClr val="0072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45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  <p:sldLayoutId id="2147484503" r:id="rId5"/>
    <p:sldLayoutId id="2147484504" r:id="rId6"/>
    <p:sldLayoutId id="2147484505" r:id="rId7"/>
    <p:sldLayoutId id="2147484506" r:id="rId8"/>
    <p:sldLayoutId id="2147484507" r:id="rId9"/>
    <p:sldLayoutId id="2147484508" r:id="rId10"/>
    <p:sldLayoutId id="2147484509" r:id="rId11"/>
    <p:sldLayoutId id="2147484510" r:id="rId12"/>
    <p:sldLayoutId id="2147484511" r:id="rId13"/>
    <p:sldLayoutId id="2147484512" r:id="rId14"/>
    <p:sldLayoutId id="2147484513" r:id="rId15"/>
    <p:sldLayoutId id="214748457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118267"/>
            <a:ext cx="10581989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to edit pag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864974"/>
            <a:ext cx="11328000" cy="53262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Tekststijl van het model bewerken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29732" y="6373477"/>
            <a:ext cx="462269" cy="4845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bg2"/>
                </a:solidFill>
                <a:latin typeface="+mj-lt"/>
              </a:defRPr>
            </a:lvl1pPr>
          </a:lstStyle>
          <a:p>
            <a:fld id="{19B51A1E-902D-48AF-9020-955120F399B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4BC39664-EB8B-4A32-915A-D4308F792772}"/>
              </a:ext>
            </a:extLst>
          </p:cNvPr>
          <p:cNvSpPr/>
          <p:nvPr userDrawn="1"/>
        </p:nvSpPr>
        <p:spPr>
          <a:xfrm>
            <a:off x="-3" y="6582483"/>
            <a:ext cx="11729733" cy="6504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4BC39664-EB8B-4A32-915A-D4308F792772}"/>
              </a:ext>
            </a:extLst>
          </p:cNvPr>
          <p:cNvSpPr/>
          <p:nvPr userDrawn="1"/>
        </p:nvSpPr>
        <p:spPr>
          <a:xfrm>
            <a:off x="-2" y="6639182"/>
            <a:ext cx="11729732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4BC39664-EB8B-4A32-915A-D4308F792772}"/>
              </a:ext>
            </a:extLst>
          </p:cNvPr>
          <p:cNvSpPr/>
          <p:nvPr userDrawn="1"/>
        </p:nvSpPr>
        <p:spPr>
          <a:xfrm>
            <a:off x="-4" y="6683785"/>
            <a:ext cx="11729735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pic>
        <p:nvPicPr>
          <p:cNvPr id="1026" name="64069D85-A5D1-481C-B61B-02AA7EAF4AAF" descr="64069D85-A5D1-481C-B61B-02AA7EAF4AAF"/>
          <p:cNvPicPr>
            <a:picLocks noChangeAspect="1" noChangeArrowheads="1"/>
          </p:cNvPicPr>
          <p:nvPr userDrawn="1"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70" b="16208"/>
          <a:stretch/>
        </p:blipFill>
        <p:spPr bwMode="auto">
          <a:xfrm>
            <a:off x="11013989" y="121659"/>
            <a:ext cx="1178011" cy="707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Rechte verbindingslijn 4"/>
          <p:cNvCxnSpPr/>
          <p:nvPr userDrawn="1"/>
        </p:nvCxnSpPr>
        <p:spPr>
          <a:xfrm>
            <a:off x="230659" y="657715"/>
            <a:ext cx="107833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04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  <p:sldLayoutId id="2147484526" r:id="rId12"/>
    <p:sldLayoutId id="2147484527" r:id="rId13"/>
    <p:sldLayoutId id="2147484528" r:id="rId14"/>
    <p:sldLayoutId id="2147484529" r:id="rId15"/>
    <p:sldLayoutId id="2147484530" r:id="rId16"/>
    <p:sldLayoutId id="2147484531" r:id="rId17"/>
    <p:sldLayoutId id="2147484532" r:id="rId18"/>
    <p:sldLayoutId id="2147484533" r:id="rId19"/>
    <p:sldLayoutId id="2147484534" r:id="rId20"/>
    <p:sldLayoutId id="2147484535" r:id="rId21"/>
    <p:sldLayoutId id="2147484536" r:id="rId22"/>
    <p:sldLayoutId id="2147484537" r:id="rId23"/>
    <p:sldLayoutId id="2147484538" r:id="rId24"/>
    <p:sldLayoutId id="2147484539" r:id="rId25"/>
    <p:sldLayoutId id="2147484540" r:id="rId26"/>
    <p:sldLayoutId id="2147484541" r:id="rId27"/>
    <p:sldLayoutId id="2147484542" r:id="rId28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 spc="-151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66693" indent="-266693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12" indent="-276218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05" indent="-266693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298" indent="-266693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2992" indent="-266693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4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Relationship Id="rId6" Type="http://schemas.openxmlformats.org/officeDocument/2006/relationships/hyperlink" Target="https://deleefstijlapotheker.nl/stoppen-met-roken-vapen/" TargetMode="External"/><Relationship Id="rId5" Type="http://schemas.openxmlformats.org/officeDocument/2006/relationships/image" Target="../media/image55.png"/><Relationship Id="rId4" Type="http://schemas.openxmlformats.org/officeDocument/2006/relationships/image" Target="../media/image4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4.xml"/><Relationship Id="rId6" Type="http://schemas.openxmlformats.org/officeDocument/2006/relationships/hyperlink" Target="https://deleefstijlapotheker.nl/stoppen-met-roken-vapen/" TargetMode="External"/><Relationship Id="rId5" Type="http://schemas.openxmlformats.org/officeDocument/2006/relationships/image" Target="../media/image44.jpeg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4.xml"/><Relationship Id="rId6" Type="http://schemas.openxmlformats.org/officeDocument/2006/relationships/hyperlink" Target="https://deleefstijlapotheker.nl/stoppen-met-roken-vapen/" TargetMode="External"/><Relationship Id="rId5" Type="http://schemas.openxmlformats.org/officeDocument/2006/relationships/image" Target="../media/image44.jpe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43.png"/><Relationship Id="rId4" Type="http://schemas.openxmlformats.org/officeDocument/2006/relationships/hyperlink" Target="https://www.trimbos.nl/docs/fb5ba599-d9d5-4732-9b37-d8002cfe959d.pdf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hyperlink" Target="https://deleefstijlapotheker.nl/stoppen-met-roken-vapen/" TargetMode="Externa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eleefstijlapotheker.nl/stoppen-met-roken-vapen/" TargetMode="Externa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47.png"/><Relationship Id="rId5" Type="http://schemas.openxmlformats.org/officeDocument/2006/relationships/hyperlink" Target="https://deleefstijlapotheker.nl/stoppen-met-roken-vapen/" TargetMode="External"/><Relationship Id="rId4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toptober.nl/stophulp/tv/webinars/" TargetMode="Externa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4" name="TextBox 3">
            <a:extLst>
              <a:ext uri="{FF2B5EF4-FFF2-40B4-BE49-F238E27FC236}">
                <a16:creationId xmlns:a16="http://schemas.microsoft.com/office/drawing/2014/main" id="{9772B23A-5961-4FD6-A6DB-6623BF3D9C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45613" y="1131888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marL="342900" indent="-342900" defTabSz="457200">
              <a:lnSpc>
                <a:spcPct val="114000"/>
              </a:lnSpc>
              <a:spcBef>
                <a:spcPts val="600"/>
              </a:spcBef>
              <a:buClr>
                <a:srgbClr val="58A618"/>
              </a:buClr>
              <a:buFont typeface="Wingdings" panose="05000000000000000000" pitchFamily="2" charset="2"/>
              <a:buChar char="§"/>
              <a:defRPr b="1">
                <a:solidFill>
                  <a:srgbClr val="00266E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defRPr>
            </a:lvl1pPr>
            <a:lvl2pPr marL="742950" indent="-285750" defTabSz="457200">
              <a:lnSpc>
                <a:spcPct val="114000"/>
              </a:lnSpc>
              <a:spcBef>
                <a:spcPts val="600"/>
              </a:spcBef>
              <a:buClr>
                <a:srgbClr val="58A618"/>
              </a:buClr>
              <a:buFont typeface="Arial" panose="020B0604020202020204" pitchFamily="34" charset="0"/>
              <a:buChar char="-"/>
              <a:defRPr>
                <a:solidFill>
                  <a:srgbClr val="00266E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457200">
              <a:spcBef>
                <a:spcPct val="20000"/>
              </a:spcBef>
              <a:buClr>
                <a:srgbClr val="58A618"/>
              </a:buClr>
              <a:buFont typeface="Wingdings" panose="05000000000000000000" pitchFamily="2" charset="2"/>
              <a:buChar char="§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3pPr>
            <a:lvl4pPr marL="1600200" indent="-228600" defTabSz="457200">
              <a:spcBef>
                <a:spcPct val="20000"/>
              </a:spcBef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4pPr>
            <a:lvl5pPr marL="2057400" indent="-228600" defTabSz="457200">
              <a:spcBef>
                <a:spcPct val="20000"/>
              </a:spcBef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8A618"/>
              </a:buClr>
              <a:buFont typeface="Arial" panose="020B0604020202020204" pitchFamily="34" charset="0"/>
              <a:buChar char="•"/>
              <a:defRPr>
                <a:solidFill>
                  <a:srgbClr val="00266E"/>
                </a:solidFill>
                <a:latin typeface="Ubuntu"/>
                <a:ea typeface="MS PGothic" panose="020B0600070205080204" pitchFamily="34" charset="-128"/>
              </a:defRPr>
            </a:lvl9pPr>
          </a:lstStyle>
          <a:p>
            <a:pPr marL="342891" indent="-342891" defTabSz="457189">
              <a:lnSpc>
                <a:spcPct val="100000"/>
              </a:lnSpc>
              <a:spcBef>
                <a:spcPct val="20000"/>
              </a:spcBef>
              <a:buClrTx/>
              <a:buNone/>
              <a:defRPr/>
            </a:pPr>
            <a:endParaRPr lang="nl-NL" altLang="nl-NL" b="0">
              <a:latin typeface="Ubuntu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93E31A7C-6465-48E9-8C6D-9933E4DDB4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428626"/>
            <a:ext cx="12192000" cy="7715251"/>
          </a:xfrm>
          <a:prstGeom prst="rect">
            <a:avLst/>
          </a:prstGeom>
        </p:spPr>
      </p:pic>
      <p:pic>
        <p:nvPicPr>
          <p:cNvPr id="6" name="Afbeelding 5" descr="Afbeelding met tekst, sinaasappel, Lettertype, logo&#10;&#10;Automatisch gegenereerde beschrijving">
            <a:extLst>
              <a:ext uri="{FF2B5EF4-FFF2-40B4-BE49-F238E27FC236}">
                <a16:creationId xmlns:a16="http://schemas.microsoft.com/office/drawing/2014/main" id="{360CEDC0-200B-411E-2354-684A412D64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6118" y="1512069"/>
            <a:ext cx="6959763" cy="89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9453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69221-82A8-FE4F-5B73-3ADEA08DB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706B6438-ACE2-9B34-FE47-D8D5891A21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1300" y="1437290"/>
            <a:ext cx="2264985" cy="310317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2D34B16B-4A7F-B4D7-B87D-4933C54D0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990" y="0"/>
            <a:ext cx="10972800" cy="1143000"/>
          </a:xfrm>
        </p:spPr>
        <p:txBody>
          <a:bodyPr/>
          <a:lstStyle/>
          <a:p>
            <a:r>
              <a:rPr lang="nl-NL" dirty="0"/>
              <a:t>Kosten en baten</a:t>
            </a:r>
          </a:p>
        </p:txBody>
      </p:sp>
      <p:pic>
        <p:nvPicPr>
          <p:cNvPr id="8" name="Picture 2" descr="10 Jaar Stoptober">
            <a:extLst>
              <a:ext uri="{FF2B5EF4-FFF2-40B4-BE49-F238E27FC236}">
                <a16:creationId xmlns:a16="http://schemas.microsoft.com/office/drawing/2014/main" id="{5C485AD4-C7D5-F38A-4128-2BC2EAD0D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3B99FEBD-FFD1-15DF-83DE-0183036D85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989" y="1437290"/>
            <a:ext cx="8716509" cy="4418730"/>
          </a:xfrm>
          <a:prstGeom prst="rect">
            <a:avLst/>
          </a:prstGeom>
        </p:spPr>
      </p:pic>
      <p:sp>
        <p:nvSpPr>
          <p:cNvPr id="11" name="Ondertitel 2">
            <a:extLst>
              <a:ext uri="{FF2B5EF4-FFF2-40B4-BE49-F238E27FC236}">
                <a16:creationId xmlns:a16="http://schemas.microsoft.com/office/drawing/2014/main" id="{37863B6E-56DF-06B2-F188-82F5DDD44D52}"/>
              </a:ext>
            </a:extLst>
          </p:cNvPr>
          <p:cNvSpPr txBox="1">
            <a:spLocks/>
          </p:cNvSpPr>
          <p:nvPr/>
        </p:nvSpPr>
        <p:spPr>
          <a:xfrm>
            <a:off x="435228" y="6388016"/>
            <a:ext cx="6253653" cy="43393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>
                <a:hlinkClick r:id="rId6"/>
              </a:rPr>
              <a:t>https://deleefstijlapotheker.nl/stoppen-met-roken-vapen/</a:t>
            </a:r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02253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69221-82A8-FE4F-5B73-3ADEA08DB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706B6438-ACE2-9B34-FE47-D8D5891A21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5182" y="1369265"/>
            <a:ext cx="3312416" cy="45382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13397B84-1F2C-3EFC-6966-D3DBC3665AD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369263"/>
            <a:ext cx="3250353" cy="45382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2D34B16B-4A7F-B4D7-B87D-4933C54D0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267" y="-81984"/>
            <a:ext cx="10972800" cy="1143000"/>
          </a:xfrm>
        </p:spPr>
        <p:txBody>
          <a:bodyPr/>
          <a:lstStyle/>
          <a:p>
            <a:r>
              <a:rPr lang="nl-NL" dirty="0"/>
              <a:t>Stoptober: wie doet mee?</a:t>
            </a:r>
          </a:p>
        </p:txBody>
      </p:sp>
      <p:pic>
        <p:nvPicPr>
          <p:cNvPr id="8" name="Picture 2" descr="10 Jaar Stoptober">
            <a:extLst>
              <a:ext uri="{FF2B5EF4-FFF2-40B4-BE49-F238E27FC236}">
                <a16:creationId xmlns:a16="http://schemas.microsoft.com/office/drawing/2014/main" id="{5C485AD4-C7D5-F38A-4128-2BC2EAD0D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ndertitel 2">
            <a:extLst>
              <a:ext uri="{FF2B5EF4-FFF2-40B4-BE49-F238E27FC236}">
                <a16:creationId xmlns:a16="http://schemas.microsoft.com/office/drawing/2014/main" id="{AA53FA9E-D0EC-757C-CA2F-610007B1DF09}"/>
              </a:ext>
            </a:extLst>
          </p:cNvPr>
          <p:cNvSpPr txBox="1">
            <a:spLocks/>
          </p:cNvSpPr>
          <p:nvPr/>
        </p:nvSpPr>
        <p:spPr>
          <a:xfrm>
            <a:off x="435228" y="6388016"/>
            <a:ext cx="6253653" cy="43393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>
                <a:hlinkClick r:id="rId6"/>
              </a:rPr>
              <a:t>https://deleefstijlapotheker.nl/stoppen-met-roken-vapen/</a:t>
            </a:r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649942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69221-82A8-FE4F-5B73-3ADEA08DBD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706B6438-ACE2-9B34-FE47-D8D5891A21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5182" y="1369265"/>
            <a:ext cx="3312416" cy="45382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13397B84-1F2C-3EFC-6966-D3DBC3665AD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369263"/>
            <a:ext cx="3250353" cy="453822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2D34B16B-4A7F-B4D7-B87D-4933C54D0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0336" y="-103534"/>
            <a:ext cx="10972800" cy="1143000"/>
          </a:xfrm>
        </p:spPr>
        <p:txBody>
          <a:bodyPr/>
          <a:lstStyle/>
          <a:p>
            <a:r>
              <a:rPr lang="nl-NL" dirty="0"/>
              <a:t>Stoptober: wat hebben jullie nodig?</a:t>
            </a:r>
          </a:p>
        </p:txBody>
      </p:sp>
      <p:pic>
        <p:nvPicPr>
          <p:cNvPr id="8" name="Picture 2" descr="10 Jaar Stoptober">
            <a:extLst>
              <a:ext uri="{FF2B5EF4-FFF2-40B4-BE49-F238E27FC236}">
                <a16:creationId xmlns:a16="http://schemas.microsoft.com/office/drawing/2014/main" id="{5C485AD4-C7D5-F38A-4128-2BC2EAD0D8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ndertitel 2">
            <a:extLst>
              <a:ext uri="{FF2B5EF4-FFF2-40B4-BE49-F238E27FC236}">
                <a16:creationId xmlns:a16="http://schemas.microsoft.com/office/drawing/2014/main" id="{AA53FA9E-D0EC-757C-CA2F-610007B1DF09}"/>
              </a:ext>
            </a:extLst>
          </p:cNvPr>
          <p:cNvSpPr txBox="1">
            <a:spLocks/>
          </p:cNvSpPr>
          <p:nvPr/>
        </p:nvSpPr>
        <p:spPr>
          <a:xfrm>
            <a:off x="435228" y="6388016"/>
            <a:ext cx="6253653" cy="43393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>
                <a:hlinkClick r:id="rId6"/>
              </a:rPr>
              <a:t>https://deleefstijlapotheker.nl/stoppen-met-roken-vapen/</a:t>
            </a:r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92783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EFAAD61-69F2-42C9-9D71-2CC6DFEDC96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12386" y="701665"/>
            <a:ext cx="9263063" cy="414337"/>
          </a:xfrm>
        </p:spPr>
        <p:txBody>
          <a:bodyPr/>
          <a:lstStyle/>
          <a:p>
            <a:r>
              <a:rPr lang="nl-NL" dirty="0"/>
              <a:t>We beginnen met het advies!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A9393F19-46FA-4527-B93B-C65DB0A960D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195"/>
          <a:stretch/>
        </p:blipFill>
        <p:spPr>
          <a:xfrm>
            <a:off x="1376772" y="2040102"/>
            <a:ext cx="5492021" cy="3297995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3BEC3C1B-86F7-EB9E-20DD-F3E25E122DB0}"/>
              </a:ext>
            </a:extLst>
          </p:cNvPr>
          <p:cNvSpPr txBox="1"/>
          <p:nvPr/>
        </p:nvSpPr>
        <p:spPr>
          <a:xfrm>
            <a:off x="6867544" y="308670"/>
            <a:ext cx="4234207" cy="12003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nl-NL" sz="3600" b="1" dirty="0">
                <a:solidFill>
                  <a:srgbClr val="FF0000"/>
                </a:solidFill>
              </a:rPr>
              <a:t>Roken is slecht voor de gezondheid!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6017326A-A2D0-A2E1-B6A0-2913B54D4407}"/>
              </a:ext>
            </a:extLst>
          </p:cNvPr>
          <p:cNvSpPr txBox="1"/>
          <p:nvPr/>
        </p:nvSpPr>
        <p:spPr>
          <a:xfrm>
            <a:off x="7101628" y="6469365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100" dirty="0">
                <a:hlinkClick r:id="rId4"/>
              </a:rPr>
              <a:t>Bron: https://www.trimbos.nl/docs/fb5ba599-d9d5-4732-9b37-d8002cfe959d.pdf</a:t>
            </a:r>
            <a:r>
              <a:rPr lang="nl-NL" sz="1100" dirty="0"/>
              <a:t> 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D0F34294-EC6A-DF3D-2C98-9591EB22F7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3061" y="1739630"/>
            <a:ext cx="3422167" cy="3898940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0069104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80D36A-C3E7-DA0C-5F75-E864E1E3224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310" y="1"/>
            <a:ext cx="10352690" cy="798786"/>
          </a:xfrm>
        </p:spPr>
        <p:txBody>
          <a:bodyPr>
            <a:normAutofit/>
          </a:bodyPr>
          <a:lstStyle/>
          <a:p>
            <a:r>
              <a:rPr lang="nl-NL" sz="4800" dirty="0"/>
              <a:t>Stoptober: Samen Stoppen met Ro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5B1D85F-6834-5374-360C-B392F9B1B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228" y="6388016"/>
            <a:ext cx="6253653" cy="433934"/>
          </a:xfrm>
        </p:spPr>
        <p:txBody>
          <a:bodyPr>
            <a:normAutofit fontScale="85000" lnSpcReduction="10000"/>
          </a:bodyPr>
          <a:lstStyle/>
          <a:p>
            <a:r>
              <a:rPr lang="nl-NL" dirty="0">
                <a:hlinkClick r:id="rId2"/>
              </a:rPr>
              <a:t>https://deleefstijlapotheker.nl/stoppen-met-roken-vapen/</a:t>
            </a:r>
            <a:r>
              <a:rPr lang="nl-NL" dirty="0"/>
              <a:t> </a:t>
            </a:r>
          </a:p>
        </p:txBody>
      </p:sp>
      <p:pic>
        <p:nvPicPr>
          <p:cNvPr id="2050" name="Picture 2" descr="10 Jaar Stoptober">
            <a:extLst>
              <a:ext uri="{FF2B5EF4-FFF2-40B4-BE49-F238E27FC236}">
                <a16:creationId xmlns:a16="http://schemas.microsoft.com/office/drawing/2014/main" id="{1118DF86-E602-4ED9-97BD-10FC3E5E1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29360606-C995-9474-510E-BAE5DBD6495B}"/>
              </a:ext>
            </a:extLst>
          </p:cNvPr>
          <p:cNvSpPr txBox="1">
            <a:spLocks/>
          </p:cNvSpPr>
          <p:nvPr/>
        </p:nvSpPr>
        <p:spPr>
          <a:xfrm>
            <a:off x="435228" y="1147518"/>
            <a:ext cx="11389828" cy="54574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l-NL" sz="2800" b="1" dirty="0"/>
              <a:t>Definitie: </a:t>
            </a:r>
          </a:p>
          <a:p>
            <a:pPr algn="l"/>
            <a:r>
              <a:rPr lang="nl-NL" sz="2800" dirty="0"/>
              <a:t>Stoptober is een landelijke campagne die rokers aanmoedigt om in oktober </a:t>
            </a:r>
            <a:r>
              <a:rPr lang="nl-NL" sz="2800" u="sng" dirty="0"/>
              <a:t>28 dagen te stoppen </a:t>
            </a:r>
            <a:r>
              <a:rPr lang="nl-NL" sz="2800" dirty="0"/>
              <a:t>met roken.</a:t>
            </a:r>
          </a:p>
          <a:p>
            <a:pPr algn="l"/>
            <a:endParaRPr lang="nl-NL" sz="2800" dirty="0"/>
          </a:p>
          <a:p>
            <a:pPr algn="l"/>
            <a:r>
              <a:rPr lang="nl-NL" sz="2800" b="1" dirty="0"/>
              <a:t>Oorsprong: </a:t>
            </a:r>
          </a:p>
          <a:p>
            <a:pPr algn="l"/>
            <a:r>
              <a:rPr lang="nl-NL" sz="2800" dirty="0"/>
              <a:t>Gestart in Engeland in 2012, nu ook succesvol in Nederland.</a:t>
            </a:r>
          </a:p>
          <a:p>
            <a:pPr algn="l"/>
            <a:endParaRPr lang="nl-NL" sz="2800" dirty="0"/>
          </a:p>
          <a:p>
            <a:pPr algn="l"/>
            <a:r>
              <a:rPr lang="nl-NL" sz="3200" b="1" dirty="0"/>
              <a:t>Doel: Rokers ondersteunen en motiveren om te stoppen.</a:t>
            </a:r>
          </a:p>
        </p:txBody>
      </p:sp>
    </p:spTree>
    <p:extLst>
      <p:ext uri="{BB962C8B-B14F-4D97-AF65-F5344CB8AC3E}">
        <p14:creationId xmlns:p14="http://schemas.microsoft.com/office/powerpoint/2010/main" val="2377944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429C7-86D9-34FE-09E5-EF79995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De Rol van de leefstijlapothek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D4D717B-41DE-5FAE-D3F3-88AF36120C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="1" dirty="0"/>
              <a:t>Advies: </a:t>
            </a:r>
            <a:r>
              <a:rPr lang="nl-NL" dirty="0"/>
              <a:t>Informatie en hulpmiddelen verstrekken.</a:t>
            </a:r>
          </a:p>
          <a:p>
            <a:endParaRPr lang="nl-NL" dirty="0"/>
          </a:p>
          <a:p>
            <a:r>
              <a:rPr lang="nl-NL" b="1" dirty="0"/>
              <a:t>Motivatie:</a:t>
            </a:r>
            <a:r>
              <a:rPr lang="nl-NL" dirty="0"/>
              <a:t> Patiënten aanmoedigen en morele steun bieden.</a:t>
            </a:r>
          </a:p>
          <a:p>
            <a:endParaRPr lang="nl-NL" dirty="0"/>
          </a:p>
          <a:p>
            <a:pPr marL="0" indent="0" algn="ctr">
              <a:buNone/>
            </a:pPr>
            <a:r>
              <a:rPr lang="nl-NL" i="1" dirty="0"/>
              <a:t>“Wij moedigen mensen aan om samen met anderen </a:t>
            </a:r>
            <a:r>
              <a:rPr lang="nl-NL" i="1" u="sng" dirty="0"/>
              <a:t>de uitdaging </a:t>
            </a:r>
            <a:r>
              <a:rPr lang="nl-NL" i="1" dirty="0"/>
              <a:t>aan te  gaan om te stoppen met roken. Door </a:t>
            </a:r>
            <a:r>
              <a:rPr lang="nl-NL" i="1" u="sng" dirty="0"/>
              <a:t>de kracht van gemeenschap </a:t>
            </a:r>
            <a:r>
              <a:rPr lang="nl-NL" i="1" dirty="0"/>
              <a:t>en  gedeelde ervaringen te benutten, hopen wij dat tijdens de stoppoging de  mensen elkaar kunnen ondersteunen, aanmoedigen en motiveren.”</a:t>
            </a:r>
          </a:p>
        </p:txBody>
      </p:sp>
      <p:pic>
        <p:nvPicPr>
          <p:cNvPr id="4" name="Picture 2" descr="10 Jaar Stoptober">
            <a:extLst>
              <a:ext uri="{FF2B5EF4-FFF2-40B4-BE49-F238E27FC236}">
                <a16:creationId xmlns:a16="http://schemas.microsoft.com/office/drawing/2014/main" id="{A9550151-0747-B87A-D0F0-5B9B223CE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ndertitel 2">
            <a:extLst>
              <a:ext uri="{FF2B5EF4-FFF2-40B4-BE49-F238E27FC236}">
                <a16:creationId xmlns:a16="http://schemas.microsoft.com/office/drawing/2014/main" id="{636251BB-6673-80D9-BD89-7DA67775ADED}"/>
              </a:ext>
            </a:extLst>
          </p:cNvPr>
          <p:cNvSpPr txBox="1">
            <a:spLocks/>
          </p:cNvSpPr>
          <p:nvPr/>
        </p:nvSpPr>
        <p:spPr>
          <a:xfrm>
            <a:off x="435228" y="6388016"/>
            <a:ext cx="6253653" cy="43393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>
                <a:hlinkClick r:id="rId3"/>
              </a:rPr>
              <a:t>https://deleefstijlapotheker.nl/stoppen-met-roken-vapen/</a:t>
            </a:r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8451445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E429C7-86D9-34FE-09E5-EF7999506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/>
              <a:t>De Rol van Zorgverleners</a:t>
            </a:r>
          </a:p>
        </p:txBody>
      </p:sp>
      <p:pic>
        <p:nvPicPr>
          <p:cNvPr id="4" name="Picture 2" descr="10 Jaar Stoptober">
            <a:extLst>
              <a:ext uri="{FF2B5EF4-FFF2-40B4-BE49-F238E27FC236}">
                <a16:creationId xmlns:a16="http://schemas.microsoft.com/office/drawing/2014/main" id="{A9550151-0747-B87A-D0F0-5B9B223CE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C23AB65-4A97-AE03-C60E-BFB27CCB8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1545" y="1248686"/>
            <a:ext cx="6366518" cy="4360628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0E369EA6-2ABC-F40D-9857-8BCB067AF4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09358" y="4124575"/>
            <a:ext cx="1945515" cy="729569"/>
          </a:xfrm>
          <a:prstGeom prst="rect">
            <a:avLst/>
          </a:prstGeom>
        </p:spPr>
      </p:pic>
      <p:sp>
        <p:nvSpPr>
          <p:cNvPr id="11" name="Ondertitel 2">
            <a:extLst>
              <a:ext uri="{FF2B5EF4-FFF2-40B4-BE49-F238E27FC236}">
                <a16:creationId xmlns:a16="http://schemas.microsoft.com/office/drawing/2014/main" id="{1E132E5C-FAAD-32AF-7D8D-60DF0B63B8E3}"/>
              </a:ext>
            </a:extLst>
          </p:cNvPr>
          <p:cNvSpPr txBox="1">
            <a:spLocks/>
          </p:cNvSpPr>
          <p:nvPr/>
        </p:nvSpPr>
        <p:spPr>
          <a:xfrm>
            <a:off x="435228" y="6388016"/>
            <a:ext cx="6253653" cy="433934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>
                <a:hlinkClick r:id="rId5"/>
              </a:rPr>
              <a:t>https://deleefstijlapotheker.nl/stoppen-met-roken-vapen/</a:t>
            </a:r>
            <a:r>
              <a:rPr lang="nl-NL"/>
              <a:t> </a:t>
            </a:r>
            <a:endParaRPr lang="nl-NL" dirty="0"/>
          </a:p>
        </p:txBody>
      </p:sp>
      <p:sp>
        <p:nvSpPr>
          <p:cNvPr id="3" name="Pijl: rechts 2">
            <a:extLst>
              <a:ext uri="{FF2B5EF4-FFF2-40B4-BE49-F238E27FC236}">
                <a16:creationId xmlns:a16="http://schemas.microsoft.com/office/drawing/2014/main" id="{11479D45-85AE-6C1A-D1EA-F0AA224BC6D8}"/>
              </a:ext>
            </a:extLst>
          </p:cNvPr>
          <p:cNvSpPr/>
          <p:nvPr/>
        </p:nvSpPr>
        <p:spPr>
          <a:xfrm>
            <a:off x="321024" y="4375313"/>
            <a:ext cx="898175" cy="357352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8C8CEAA2-9D67-EC0E-8832-B7E4B7A793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89808" y="1248686"/>
            <a:ext cx="3547198" cy="238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01138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CFD2C4-E70D-21FD-7C15-6F949C799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Leefstijlapothekers doen mee met stoptobe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C4C21E9-4176-D1A1-C85A-4A2352811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73" y="915074"/>
            <a:ext cx="5616427" cy="5845047"/>
          </a:xfrm>
          <a:prstGeom prst="rect">
            <a:avLst/>
          </a:prstGeom>
        </p:spPr>
      </p:pic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620BA01F-EDE9-E2FF-F063-44EB1DD77B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6124" y="1021394"/>
            <a:ext cx="4662289" cy="5457465"/>
          </a:xfrm>
        </p:spPr>
        <p:txBody>
          <a:bodyPr>
            <a:normAutofit/>
          </a:bodyPr>
          <a:lstStyle/>
          <a:p>
            <a:r>
              <a:rPr lang="nl-NL" sz="2400" dirty="0">
                <a:highlight>
                  <a:srgbClr val="FFFF00"/>
                </a:highlight>
              </a:rPr>
              <a:t>Juni:</a:t>
            </a:r>
            <a:r>
              <a:rPr lang="nl-NL" sz="2400" dirty="0"/>
              <a:t> Webinar terugkijken: </a:t>
            </a:r>
            <a:r>
              <a:rPr lang="nl-NL" sz="2400" dirty="0">
                <a:hlinkClick r:id="rId3"/>
              </a:rPr>
              <a:t>https://stoptober.nl/stophulp/tv/webinars/</a:t>
            </a:r>
            <a:r>
              <a:rPr lang="nl-NL" sz="2400" dirty="0"/>
              <a:t> </a:t>
            </a:r>
          </a:p>
          <a:p>
            <a:r>
              <a:rPr lang="nl-NL" sz="2400" dirty="0">
                <a:highlight>
                  <a:srgbClr val="FFFF00"/>
                </a:highlight>
              </a:rPr>
              <a:t>Juli:</a:t>
            </a:r>
            <a:r>
              <a:rPr lang="nl-NL" sz="2400" dirty="0"/>
              <a:t> </a:t>
            </a:r>
            <a:r>
              <a:rPr lang="nl-NL" sz="2400" dirty="0" err="1"/>
              <a:t>toolkit</a:t>
            </a:r>
            <a:r>
              <a:rPr lang="nl-NL" sz="2400" dirty="0"/>
              <a:t> aanvragen</a:t>
            </a:r>
          </a:p>
          <a:p>
            <a:r>
              <a:rPr lang="nl-NL" sz="2400" dirty="0">
                <a:highlight>
                  <a:srgbClr val="FFFF00"/>
                </a:highlight>
              </a:rPr>
              <a:t>Aug- sept: </a:t>
            </a:r>
          </a:p>
          <a:p>
            <a:pPr lvl="1"/>
            <a:r>
              <a:rPr lang="nl-NL" sz="2000" dirty="0"/>
              <a:t>Team informeren</a:t>
            </a:r>
          </a:p>
          <a:p>
            <a:pPr lvl="1"/>
            <a:r>
              <a:rPr lang="nl-NL" sz="2000" dirty="0"/>
              <a:t>(Para)medici informeren</a:t>
            </a:r>
          </a:p>
          <a:p>
            <a:pPr lvl="1"/>
            <a:r>
              <a:rPr lang="nl-NL" sz="2000" dirty="0"/>
              <a:t>Balie folders drukken</a:t>
            </a:r>
          </a:p>
          <a:p>
            <a:r>
              <a:rPr lang="nl-NL" sz="2400" dirty="0">
                <a:highlight>
                  <a:srgbClr val="FFFF00"/>
                </a:highlight>
              </a:rPr>
              <a:t>Sept:</a:t>
            </a:r>
          </a:p>
          <a:p>
            <a:pPr lvl="1"/>
            <a:r>
              <a:rPr lang="nl-NL" sz="2000" dirty="0"/>
              <a:t>Post plaatsen via (</a:t>
            </a:r>
            <a:r>
              <a:rPr lang="nl-NL" sz="2000" dirty="0" err="1"/>
              <a:t>social</a:t>
            </a:r>
            <a:r>
              <a:rPr lang="nl-NL" sz="2000" dirty="0"/>
              <a:t>) media</a:t>
            </a:r>
          </a:p>
          <a:p>
            <a:pPr lvl="1"/>
            <a:endParaRPr lang="nl-NL" sz="2000" dirty="0"/>
          </a:p>
          <a:p>
            <a:r>
              <a:rPr lang="nl-NL" sz="2400" dirty="0">
                <a:highlight>
                  <a:srgbClr val="FFFF00"/>
                </a:highlight>
              </a:rPr>
              <a:t>Sept/okt??</a:t>
            </a:r>
          </a:p>
          <a:p>
            <a:pPr lvl="1"/>
            <a:r>
              <a:rPr lang="nl-NL" sz="2000" dirty="0"/>
              <a:t>1 okt starten!</a:t>
            </a:r>
          </a:p>
        </p:txBody>
      </p:sp>
      <p:pic>
        <p:nvPicPr>
          <p:cNvPr id="9" name="Picture 2" descr="10 Jaar Stoptober">
            <a:extLst>
              <a:ext uri="{FF2B5EF4-FFF2-40B4-BE49-F238E27FC236}">
                <a16:creationId xmlns:a16="http://schemas.microsoft.com/office/drawing/2014/main" id="{35FADA9F-9BBA-0A0C-8570-E77ACD604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197462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CFD2C4-E70D-21FD-7C15-6F949C799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Leefstijlapothekers doen mee met stoptobe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C4C21E9-4176-D1A1-C85A-4A2352811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73" y="915074"/>
            <a:ext cx="5616427" cy="5845047"/>
          </a:xfrm>
          <a:prstGeom prst="rect">
            <a:avLst/>
          </a:prstGeom>
        </p:spPr>
      </p:pic>
      <p:pic>
        <p:nvPicPr>
          <p:cNvPr id="9" name="Picture 2" descr="10 Jaar Stoptober">
            <a:extLst>
              <a:ext uri="{FF2B5EF4-FFF2-40B4-BE49-F238E27FC236}">
                <a16:creationId xmlns:a16="http://schemas.microsoft.com/office/drawing/2014/main" id="{35FADA9F-9BBA-0A0C-8570-E77ACD604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A5ABEEF6-FCA8-30BB-533F-1EF8009F49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429" y="915072"/>
            <a:ext cx="5749225" cy="5874525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243C55F2-8E38-5317-9EBB-24B90967ED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6957" y="1618613"/>
            <a:ext cx="3027740" cy="378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999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CFD2C4-E70D-21FD-7C15-6F949C799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Leefstijlapothekers: balie flyer</a:t>
            </a:r>
          </a:p>
        </p:txBody>
      </p:sp>
      <p:pic>
        <p:nvPicPr>
          <p:cNvPr id="9" name="Picture 2" descr="10 Jaar Stoptober">
            <a:extLst>
              <a:ext uri="{FF2B5EF4-FFF2-40B4-BE49-F238E27FC236}">
                <a16:creationId xmlns:a16="http://schemas.microsoft.com/office/drawing/2014/main" id="{35FADA9F-9BBA-0A0C-8570-E77ACD604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1109460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DEF36422-1334-3571-8A40-4C9AE103EB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1650" y="966659"/>
            <a:ext cx="3238548" cy="390900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8E5FA1F-F0B6-96E0-6638-989547C43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0981" y="966659"/>
            <a:ext cx="3248580" cy="390900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561FEBF5-3CF3-DC94-8939-BFA2FD7B19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8956" y="4893452"/>
            <a:ext cx="10120683" cy="196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76900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CFD2C4-E70D-21FD-7C15-6F949C799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Leefstijlapothekers doen mee met stoptober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C4C21E9-4176-D1A1-C85A-4A2352811F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573" y="915074"/>
            <a:ext cx="5616427" cy="5845047"/>
          </a:xfrm>
          <a:prstGeom prst="rect">
            <a:avLst/>
          </a:prstGeom>
        </p:spPr>
      </p:pic>
      <p:sp>
        <p:nvSpPr>
          <p:cNvPr id="8" name="Tijdelijke aanduiding voor tekst 2">
            <a:extLst>
              <a:ext uri="{FF2B5EF4-FFF2-40B4-BE49-F238E27FC236}">
                <a16:creationId xmlns:a16="http://schemas.microsoft.com/office/drawing/2014/main" id="{620BA01F-EDE9-E2FF-F063-44EB1DD77B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10206" y="1402426"/>
            <a:ext cx="4967090" cy="5457465"/>
          </a:xfrm>
        </p:spPr>
        <p:txBody>
          <a:bodyPr>
            <a:normAutofit/>
          </a:bodyPr>
          <a:lstStyle/>
          <a:p>
            <a:r>
              <a:rPr lang="nl-NL" sz="3200" dirty="0"/>
              <a:t>Doel</a:t>
            </a:r>
          </a:p>
          <a:p>
            <a:pPr lvl="1"/>
            <a:r>
              <a:rPr lang="nl-NL" sz="2000" dirty="0"/>
              <a:t>In de 1e week van oktober (1-7 okt) willen wij samen met de leefstijlapotheken in Nederland starten met het geven van de “</a:t>
            </a:r>
            <a:r>
              <a:rPr lang="nl-NL" sz="2000" b="1" dirty="0"/>
              <a:t>Very Brief Advice</a:t>
            </a:r>
            <a:r>
              <a:rPr lang="nl-NL" sz="2000" dirty="0"/>
              <a:t>” aan alle mensen aan de balie. Stel dat er dagelijks 200 mensen aan de balie komen, dan is dat 1000 per week.</a:t>
            </a:r>
          </a:p>
          <a:p>
            <a:pPr marL="457200" lvl="1" indent="0">
              <a:buNone/>
            </a:pPr>
            <a:r>
              <a:rPr lang="nl-NL" sz="2000" dirty="0"/>
              <a:t> </a:t>
            </a:r>
          </a:p>
          <a:p>
            <a:pPr marL="0" indent="0">
              <a:buNone/>
            </a:pPr>
            <a:r>
              <a:rPr lang="nl-NL" sz="2400" b="1" dirty="0"/>
              <a:t>Als er dan 100 leefstijlapotheken meedoen bereiken we =&gt; 100.000 mensen in 1 week!</a:t>
            </a:r>
          </a:p>
          <a:p>
            <a:pPr lvl="1"/>
            <a:endParaRPr lang="nl-NL" sz="1600" dirty="0"/>
          </a:p>
        </p:txBody>
      </p:sp>
      <p:pic>
        <p:nvPicPr>
          <p:cNvPr id="9" name="Picture 2" descr="10 Jaar Stoptober">
            <a:extLst>
              <a:ext uri="{FF2B5EF4-FFF2-40B4-BE49-F238E27FC236}">
                <a16:creationId xmlns:a16="http://schemas.microsoft.com/office/drawing/2014/main" id="{35FADA9F-9BBA-0A0C-8570-E77ACD6040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4697" y="5034455"/>
            <a:ext cx="1710176" cy="1710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938397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M4Z_kfEK3Fc3bCJG9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M4Z_kfEK3Fc3bCJG9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2bBfbV02pitYfyWEr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V60k2Y0qmViC6_e7_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2bBfbV02pitYfyWEr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V60k2Y0qmViC6_e7_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V60k2Y0qmViC6_e7_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DOAC's Antillen">
  <a:themeElements>
    <a:clrScheme name="Benutzerdefiniertes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99FF"/>
      </a:accent1>
      <a:accent2>
        <a:srgbClr val="339933"/>
      </a:accent2>
      <a:accent3>
        <a:srgbClr val="FFFFFF"/>
      </a:accent3>
      <a:accent4>
        <a:srgbClr val="000000"/>
      </a:accent4>
      <a:accent5>
        <a:srgbClr val="B8CAFF"/>
      </a:accent5>
      <a:accent6>
        <a:srgbClr val="2D8A2D"/>
      </a:accent6>
      <a:hlink>
        <a:srgbClr val="FF3300"/>
      </a:hlink>
      <a:folHlink>
        <a:srgbClr val="C0C0C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DFB4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noAutofit/>
      </a:bodyPr>
      <a:lstStyle>
        <a:defPPr marL="342900" indent="-342900" defTabSz="457200" fontAlgn="auto">
          <a:spcBef>
            <a:spcPct val="20000"/>
          </a:spcBef>
          <a:spcAft>
            <a:spcPts val="0"/>
          </a:spcAft>
          <a:buFont typeface="Arial"/>
          <a:buNone/>
          <a:defRPr sz="1800" dirty="0" smtClean="0">
            <a:solidFill>
              <a:srgbClr val="00266E"/>
            </a:solidFill>
            <a:latin typeface="Ubuntu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2D8A2D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1_BENU standard layout">
  <a:themeElements>
    <a:clrScheme name="Benutzerdefiniertes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99FF"/>
      </a:accent1>
      <a:accent2>
        <a:srgbClr val="339933"/>
      </a:accent2>
      <a:accent3>
        <a:srgbClr val="FFFFFF"/>
      </a:accent3>
      <a:accent4>
        <a:srgbClr val="000000"/>
      </a:accent4>
      <a:accent5>
        <a:srgbClr val="B8CAFF"/>
      </a:accent5>
      <a:accent6>
        <a:srgbClr val="2D8A2D"/>
      </a:accent6>
      <a:hlink>
        <a:srgbClr val="FF3300"/>
      </a:hlink>
      <a:folHlink>
        <a:srgbClr val="C0C0C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DFB4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noAutofit/>
      </a:bodyPr>
      <a:lstStyle>
        <a:defPPr marL="342900" indent="-342900" defTabSz="457200" fontAlgn="auto">
          <a:spcBef>
            <a:spcPct val="20000"/>
          </a:spcBef>
          <a:spcAft>
            <a:spcPts val="0"/>
          </a:spcAft>
          <a:buFont typeface="Arial"/>
          <a:buNone/>
          <a:defRPr sz="1800" dirty="0" smtClean="0">
            <a:solidFill>
              <a:srgbClr val="00266E"/>
            </a:solidFill>
            <a:latin typeface="Ubuntu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2D8A2D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enu Template-set - Slidebuilder">
  <a:themeElements>
    <a:clrScheme name="BENU Kleuren">
      <a:dk1>
        <a:srgbClr val="000000"/>
      </a:dk1>
      <a:lt1>
        <a:srgbClr val="FFFFFF"/>
      </a:lt1>
      <a:dk2>
        <a:srgbClr val="575756"/>
      </a:dk2>
      <a:lt2>
        <a:srgbClr val="F2F2F2"/>
      </a:lt2>
      <a:accent1>
        <a:srgbClr val="002664"/>
      </a:accent1>
      <a:accent2>
        <a:srgbClr val="58A618"/>
      </a:accent2>
      <a:accent3>
        <a:srgbClr val="92D400"/>
      </a:accent3>
      <a:accent4>
        <a:srgbClr val="CDE4BA"/>
      </a:accent4>
      <a:accent5>
        <a:srgbClr val="667DA2"/>
      </a:accent5>
      <a:accent6>
        <a:srgbClr val="EEF2F7"/>
      </a:accent6>
      <a:hlink>
        <a:srgbClr val="575756"/>
      </a:hlink>
      <a:folHlink>
        <a:srgbClr val="575756"/>
      </a:folHlink>
    </a:clrScheme>
    <a:fontScheme name="BENU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ervice Apotheek">
  <a:themeElements>
    <a:clrScheme name="SERVICE 2021">
      <a:dk1>
        <a:srgbClr val="000000"/>
      </a:dk1>
      <a:lt1>
        <a:srgbClr val="FFFFFF"/>
      </a:lt1>
      <a:dk2>
        <a:srgbClr val="00A0D6"/>
      </a:dk2>
      <a:lt2>
        <a:srgbClr val="002C55"/>
      </a:lt2>
      <a:accent1>
        <a:srgbClr val="002C55"/>
      </a:accent1>
      <a:accent2>
        <a:srgbClr val="0081B6"/>
      </a:accent2>
      <a:accent3>
        <a:srgbClr val="6BB2E3"/>
      </a:accent3>
      <a:accent4>
        <a:srgbClr val="B2D5F8"/>
      </a:accent4>
      <a:accent5>
        <a:srgbClr val="00497C"/>
      </a:accent5>
      <a:accent6>
        <a:srgbClr val="006498"/>
      </a:accent6>
      <a:hlink>
        <a:srgbClr val="002C55"/>
      </a:hlink>
      <a:folHlink>
        <a:srgbClr val="002C55"/>
      </a:folHlink>
    </a:clrScheme>
    <a:fontScheme name="sa21">
      <a:majorFont>
        <a:latin typeface="Service Apotheek Display Bold"/>
        <a:ea typeface=""/>
        <a:cs typeface=""/>
      </a:majorFont>
      <a:minorFont>
        <a:latin typeface="Service Apotheek Display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1_Aangepast ontwerp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pen sans instelling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jabloon Leapo 1" id="{8D64E294-E86F-422D-97AD-CF2B0DEB239C}" vid="{52FC12CA-6593-4108-AB24-1F9DC48AAAEA}"/>
    </a:ext>
  </a:extLst>
</a:theme>
</file>

<file path=ppt/theme/theme7.xml><?xml version="1.0" encoding="utf-8"?>
<a:theme xmlns:a="http://schemas.openxmlformats.org/drawingml/2006/main" name="2_Kantoorthema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49">
      <a:majorFont>
        <a:latin typeface="Corbel"/>
        <a:ea typeface=""/>
        <a:cs typeface=""/>
      </a:majorFont>
      <a:minorFont>
        <a:latin typeface="Canda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FC Sjabloon Blanco v4" id="{2507BE4B-5897-4B65-B821-7C45D4C671F4}" vid="{B3FE30C0-0F30-4468-9C6C-D962ED9BE30C}"/>
    </a:ext>
  </a:extLst>
</a:theme>
</file>

<file path=ppt/theme/theme8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  <wetp:taskpane dockstate="right" visibility="0" width="350" row="3">
    <wetp:webextensionref xmlns:r="http://schemas.openxmlformats.org/officeDocument/2006/relationships" r:id="rId2"/>
  </wetp:taskpane>
  <wetp:taskpane dockstate="right" visibility="0" width="350" row="8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5F4808C4-C8C2-4545-89E3-AC025A7BD0A3}">
  <we:reference id="wa104051163" version="1.2.0.3" store="nl-NL" storeType="OMEX"/>
  <we:alternateReferences>
    <we:reference id="wa104051163" version="1.2.0.3" store="wa104051163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595C6F3C-2FAD-4767-870A-7864888AE43E}">
  <we:reference id="wa104379997" version="3.0.0.0" store="nl-NL" storeType="OMEX"/>
  <we:alternateReferences>
    <we:reference id="wa104379997" version="3.0.0.0" store="wa104379997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6A86E98C-21F1-4C88-AF56-8499106E198D}">
  <we:reference id="wa104380907" version="3.1.0.0" store="nl-NL" storeType="OMEX"/>
  <we:alternateReferences>
    <we:reference id="wa104380907" version="3.1.0.0" store="wa104380907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KNMP Algemeen_16-9_2018_V2</Template>
  <TotalTime>58531</TotalTime>
  <Words>437</Words>
  <Application>Microsoft Office PowerPoint</Application>
  <PresentationFormat>Breedbeeld</PresentationFormat>
  <Paragraphs>53</Paragraphs>
  <Slides>12</Slides>
  <Notes>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5</vt:i4>
      </vt:variant>
      <vt:variant>
        <vt:lpstr>Thema</vt:lpstr>
      </vt:variant>
      <vt:variant>
        <vt:i4>7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2</vt:i4>
      </vt:variant>
    </vt:vector>
  </HeadingPairs>
  <TitlesOfParts>
    <vt:vector size="35" baseType="lpstr">
      <vt:lpstr>Arial</vt:lpstr>
      <vt:lpstr>Calibri</vt:lpstr>
      <vt:lpstr>Calibri Light</vt:lpstr>
      <vt:lpstr>Candara</vt:lpstr>
      <vt:lpstr>Corbel</vt:lpstr>
      <vt:lpstr>Geneva</vt:lpstr>
      <vt:lpstr>Open Sans</vt:lpstr>
      <vt:lpstr>Segoe UI Light</vt:lpstr>
      <vt:lpstr>Service Apotheek Display</vt:lpstr>
      <vt:lpstr>Service Apotheek Display Bold</vt:lpstr>
      <vt:lpstr>Service Apotheek Text</vt:lpstr>
      <vt:lpstr>Source Sans Pro</vt:lpstr>
      <vt:lpstr>Times New Roman</vt:lpstr>
      <vt:lpstr>Ubuntu</vt:lpstr>
      <vt:lpstr>Wingdings</vt:lpstr>
      <vt:lpstr>5_DOAC's Antillen</vt:lpstr>
      <vt:lpstr>11_BENU standard layout</vt:lpstr>
      <vt:lpstr>Benu Template-set - Slidebuilder</vt:lpstr>
      <vt:lpstr>Service Apotheek</vt:lpstr>
      <vt:lpstr>1_Aangepast ontwerp</vt:lpstr>
      <vt:lpstr>4_Kantoorthema</vt:lpstr>
      <vt:lpstr>2_Kantoorthema</vt:lpstr>
      <vt:lpstr>think-cell Slide</vt:lpstr>
      <vt:lpstr>PowerPoint-presentatie</vt:lpstr>
      <vt:lpstr>We beginnen met het advies!</vt:lpstr>
      <vt:lpstr>Stoptober: Samen Stoppen met Roken</vt:lpstr>
      <vt:lpstr>De Rol van de leefstijlapotheker</vt:lpstr>
      <vt:lpstr>De Rol van Zorgverleners</vt:lpstr>
      <vt:lpstr>Leefstijlapothekers doen mee met stoptober</vt:lpstr>
      <vt:lpstr>Leefstijlapothekers doen mee met stoptober</vt:lpstr>
      <vt:lpstr>Leefstijlapothekers: balie flyer</vt:lpstr>
      <vt:lpstr>Leefstijlapothekers doen mee met stoptober</vt:lpstr>
      <vt:lpstr>Kosten en baten</vt:lpstr>
      <vt:lpstr>Stoptober: wie doet mee?</vt:lpstr>
      <vt:lpstr>Stoptober: wat hebben jullie nodig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Sylvia Blind</dc:creator>
  <cp:lastModifiedBy>Rogier Larik</cp:lastModifiedBy>
  <cp:revision>278</cp:revision>
  <cp:lastPrinted>2019-10-29T09:00:40Z</cp:lastPrinted>
  <dcterms:created xsi:type="dcterms:W3CDTF">2018-03-20T09:26:54Z</dcterms:created>
  <dcterms:modified xsi:type="dcterms:W3CDTF">2024-06-13T09:07:23Z</dcterms:modified>
</cp:coreProperties>
</file>